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  <p:sldMasterId id="2147483664" r:id="rId2"/>
    <p:sldMasterId id="2147483660" r:id="rId3"/>
  </p:sldMasterIdLst>
  <p:notesMasterIdLst>
    <p:notesMasterId r:id="rId13"/>
  </p:notesMasterIdLst>
  <p:sldIdLst>
    <p:sldId id="256" r:id="rId4"/>
    <p:sldId id="260" r:id="rId5"/>
    <p:sldId id="264" r:id="rId6"/>
    <p:sldId id="283" r:id="rId7"/>
    <p:sldId id="286" r:id="rId8"/>
    <p:sldId id="324" r:id="rId9"/>
    <p:sldId id="326" r:id="rId10"/>
    <p:sldId id="327" r:id="rId11"/>
    <p:sldId id="328" r:id="rId12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ion par défaut" id="{4E86E38B-1A34-45A7-8071-739552A315BA}">
          <p14:sldIdLst>
            <p14:sldId id="256"/>
            <p14:sldId id="260"/>
            <p14:sldId id="264"/>
            <p14:sldId id="283"/>
            <p14:sldId id="286"/>
            <p14:sldId id="324"/>
            <p14:sldId id="326"/>
            <p14:sldId id="327"/>
            <p14:sldId id="328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980" autoAdjust="0"/>
    <p:restoredTop sz="96395" autoAdjust="0"/>
  </p:normalViewPr>
  <p:slideViewPr>
    <p:cSldViewPr snapToGrid="0">
      <p:cViewPr>
        <p:scale>
          <a:sx n="100" d="100"/>
          <a:sy n="100" d="100"/>
        </p:scale>
        <p:origin x="432" y="33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notesMaster" Target="notesMasters/notesMaster1.xml"/><Relationship Id="rId18" Type="http://schemas.microsoft.com/office/2016/11/relationships/changesInfo" Target="changesInfos/changesInfo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viewProps" Target="view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atrick DELABORDE" userId="ce7802e3ec4542a8" providerId="LiveId" clId="{4CB88F4A-2891-4C24-AA58-25693C1979F3}"/>
    <pc:docChg chg="undo custSel addSld delSld modSld sldOrd modSection">
      <pc:chgData name="Patrick DELABORDE" userId="ce7802e3ec4542a8" providerId="LiveId" clId="{4CB88F4A-2891-4C24-AA58-25693C1979F3}" dt="2022-11-07T16:05:26.763" v="3636" actId="1076"/>
      <pc:docMkLst>
        <pc:docMk/>
      </pc:docMkLst>
      <pc:sldChg chg="addSp delSp modSp mod">
        <pc:chgData name="Patrick DELABORDE" userId="ce7802e3ec4542a8" providerId="LiveId" clId="{4CB88F4A-2891-4C24-AA58-25693C1979F3}" dt="2022-11-03T13:59:58.935" v="730" actId="478"/>
        <pc:sldMkLst>
          <pc:docMk/>
          <pc:sldMk cId="732552066" sldId="256"/>
        </pc:sldMkLst>
        <pc:spChg chg="del mod">
          <ac:chgData name="Patrick DELABORDE" userId="ce7802e3ec4542a8" providerId="LiveId" clId="{4CB88F4A-2891-4C24-AA58-25693C1979F3}" dt="2022-11-03T13:59:28.256" v="722" actId="478"/>
          <ac:spMkLst>
            <pc:docMk/>
            <pc:sldMk cId="732552066" sldId="256"/>
            <ac:spMk id="2" creationId="{63C3CD64-168D-DA59-7C10-E64250B54A98}"/>
          </ac:spMkLst>
        </pc:spChg>
        <pc:spChg chg="add mod">
          <ac:chgData name="Patrick DELABORDE" userId="ce7802e3ec4542a8" providerId="LiveId" clId="{4CB88F4A-2891-4C24-AA58-25693C1979F3}" dt="2022-11-03T10:41:43.238" v="592" actId="14100"/>
          <ac:spMkLst>
            <pc:docMk/>
            <pc:sldMk cId="732552066" sldId="256"/>
            <ac:spMk id="3" creationId="{7F19BA2A-F5E8-21AC-54E5-53DD491566E7}"/>
          </ac:spMkLst>
        </pc:spChg>
        <pc:spChg chg="mod">
          <ac:chgData name="Patrick DELABORDE" userId="ce7802e3ec4542a8" providerId="LiveId" clId="{4CB88F4A-2891-4C24-AA58-25693C1979F3}" dt="2022-11-03T13:59:52.532" v="729" actId="1076"/>
          <ac:spMkLst>
            <pc:docMk/>
            <pc:sldMk cId="732552066" sldId="256"/>
            <ac:spMk id="6" creationId="{2F7A1C88-89A4-EA56-1494-515FFAE5A7E1}"/>
          </ac:spMkLst>
        </pc:spChg>
        <pc:spChg chg="add mod">
          <ac:chgData name="Patrick DELABORDE" userId="ce7802e3ec4542a8" providerId="LiveId" clId="{4CB88F4A-2891-4C24-AA58-25693C1979F3}" dt="2022-11-03T10:43:55.164" v="619" actId="1035"/>
          <ac:spMkLst>
            <pc:docMk/>
            <pc:sldMk cId="732552066" sldId="256"/>
            <ac:spMk id="7" creationId="{240EC4CB-ED53-0C32-0DB5-93DA9965DE96}"/>
          </ac:spMkLst>
        </pc:spChg>
        <pc:spChg chg="add mod">
          <ac:chgData name="Patrick DELABORDE" userId="ce7802e3ec4542a8" providerId="LiveId" clId="{4CB88F4A-2891-4C24-AA58-25693C1979F3}" dt="2022-11-03T10:43:36.787" v="615" actId="1037"/>
          <ac:spMkLst>
            <pc:docMk/>
            <pc:sldMk cId="732552066" sldId="256"/>
            <ac:spMk id="8" creationId="{E64867E7-3FE7-FF65-CCAE-089ECA83CA02}"/>
          </ac:spMkLst>
        </pc:spChg>
        <pc:spChg chg="add del mod">
          <ac:chgData name="Patrick DELABORDE" userId="ce7802e3ec4542a8" providerId="LiveId" clId="{4CB88F4A-2891-4C24-AA58-25693C1979F3}" dt="2022-11-03T13:59:58.935" v="730" actId="478"/>
          <ac:spMkLst>
            <pc:docMk/>
            <pc:sldMk cId="732552066" sldId="256"/>
            <ac:spMk id="13" creationId="{FF1C2903-9844-57AC-8FCC-3B089616F199}"/>
          </ac:spMkLst>
        </pc:spChg>
        <pc:picChg chg="add del mod">
          <ac:chgData name="Patrick DELABORDE" userId="ce7802e3ec4542a8" providerId="LiveId" clId="{4CB88F4A-2891-4C24-AA58-25693C1979F3}" dt="2022-11-03T13:49:29.620" v="700" actId="478"/>
          <ac:picMkLst>
            <pc:docMk/>
            <pc:sldMk cId="732552066" sldId="256"/>
            <ac:picMk id="9" creationId="{458D73DD-62E2-384E-BA58-2D147344B073}"/>
          </ac:picMkLst>
        </pc:picChg>
        <pc:picChg chg="add mod">
          <ac:chgData name="Patrick DELABORDE" userId="ce7802e3ec4542a8" providerId="LiveId" clId="{4CB88F4A-2891-4C24-AA58-25693C1979F3}" dt="2022-11-03T13:57:35.266" v="716" actId="14100"/>
          <ac:picMkLst>
            <pc:docMk/>
            <pc:sldMk cId="732552066" sldId="256"/>
            <ac:picMk id="11" creationId="{D8DD6BFD-F78F-021D-B216-A499092DC78C}"/>
          </ac:picMkLst>
        </pc:picChg>
        <pc:picChg chg="add mod">
          <ac:chgData name="Patrick DELABORDE" userId="ce7802e3ec4542a8" providerId="LiveId" clId="{4CB88F4A-2891-4C24-AA58-25693C1979F3}" dt="2022-11-03T09:58:16.883" v="57" actId="1076"/>
          <ac:picMkLst>
            <pc:docMk/>
            <pc:sldMk cId="732552066" sldId="256"/>
            <ac:picMk id="1026" creationId="{9F403528-F104-6D58-9E62-CE4D0E74EB83}"/>
          </ac:picMkLst>
        </pc:picChg>
      </pc:sldChg>
      <pc:sldChg chg="add del">
        <pc:chgData name="Patrick DELABORDE" userId="ce7802e3ec4542a8" providerId="LiveId" clId="{4CB88F4A-2891-4C24-AA58-25693C1979F3}" dt="2022-11-03T10:02:23.336" v="111" actId="47"/>
        <pc:sldMkLst>
          <pc:docMk/>
          <pc:sldMk cId="4086238653" sldId="258"/>
        </pc:sldMkLst>
      </pc:sldChg>
      <pc:sldChg chg="addSp delSp modSp mod modAnim">
        <pc:chgData name="Patrick DELABORDE" userId="ce7802e3ec4542a8" providerId="LiveId" clId="{4CB88F4A-2891-4C24-AA58-25693C1979F3}" dt="2022-11-07T15:12:20.917" v="3401" actId="20577"/>
        <pc:sldMkLst>
          <pc:docMk/>
          <pc:sldMk cId="2742075277" sldId="260"/>
        </pc:sldMkLst>
        <pc:spChg chg="mod">
          <ac:chgData name="Patrick DELABORDE" userId="ce7802e3ec4542a8" providerId="LiveId" clId="{4CB88F4A-2891-4C24-AA58-25693C1979F3}" dt="2022-11-03T09:59:45.036" v="85" actId="20577"/>
          <ac:spMkLst>
            <pc:docMk/>
            <pc:sldMk cId="2742075277" sldId="260"/>
            <ac:spMk id="2" creationId="{03EFB60A-0E95-A8E7-FA07-744F1ABA6FB1}"/>
          </ac:spMkLst>
        </pc:spChg>
        <pc:spChg chg="mod">
          <ac:chgData name="Patrick DELABORDE" userId="ce7802e3ec4542a8" providerId="LiveId" clId="{4CB88F4A-2891-4C24-AA58-25693C1979F3}" dt="2022-11-07T15:12:20.917" v="3401" actId="20577"/>
          <ac:spMkLst>
            <pc:docMk/>
            <pc:sldMk cId="2742075277" sldId="260"/>
            <ac:spMk id="3" creationId="{7AE62601-62ED-C7BE-B8D6-9F43B747CBAA}"/>
          </ac:spMkLst>
        </pc:spChg>
        <pc:picChg chg="add mod">
          <ac:chgData name="Patrick DELABORDE" userId="ce7802e3ec4542a8" providerId="LiveId" clId="{4CB88F4A-2891-4C24-AA58-25693C1979F3}" dt="2022-11-03T13:39:42.114" v="686" actId="1076"/>
          <ac:picMkLst>
            <pc:docMk/>
            <pc:sldMk cId="2742075277" sldId="260"/>
            <ac:picMk id="4" creationId="{7692732A-058F-6F48-2745-BF933F95D5FA}"/>
          </ac:picMkLst>
        </pc:picChg>
        <pc:picChg chg="mod">
          <ac:chgData name="Patrick DELABORDE" userId="ce7802e3ec4542a8" providerId="LiveId" clId="{4CB88F4A-2891-4C24-AA58-25693C1979F3}" dt="2022-11-03T10:04:54.609" v="126" actId="1076"/>
          <ac:picMkLst>
            <pc:docMk/>
            <pc:sldMk cId="2742075277" sldId="260"/>
            <ac:picMk id="7" creationId="{3E5D3226-CA36-9034-E7F4-05ECF81234D3}"/>
          </ac:picMkLst>
        </pc:picChg>
        <pc:picChg chg="add del mod">
          <ac:chgData name="Patrick DELABORDE" userId="ce7802e3ec4542a8" providerId="LiveId" clId="{4CB88F4A-2891-4C24-AA58-25693C1979F3}" dt="2022-11-03T10:04:04.548" v="115" actId="478"/>
          <ac:picMkLst>
            <pc:docMk/>
            <pc:sldMk cId="2742075277" sldId="260"/>
            <ac:picMk id="8" creationId="{F8FDDC07-908D-4258-0040-A608ED24D185}"/>
          </ac:picMkLst>
        </pc:picChg>
        <pc:picChg chg="add mod">
          <ac:chgData name="Patrick DELABORDE" userId="ce7802e3ec4542a8" providerId="LiveId" clId="{4CB88F4A-2891-4C24-AA58-25693C1979F3}" dt="2022-11-03T13:39:47.367" v="687" actId="1076"/>
          <ac:picMkLst>
            <pc:docMk/>
            <pc:sldMk cId="2742075277" sldId="260"/>
            <ac:picMk id="9" creationId="{D2ACCA25-8E34-8C3B-BBDA-3D4630A544CC}"/>
          </ac:picMkLst>
        </pc:picChg>
        <pc:picChg chg="add mod">
          <ac:chgData name="Patrick DELABORDE" userId="ce7802e3ec4542a8" providerId="LiveId" clId="{4CB88F4A-2891-4C24-AA58-25693C1979F3}" dt="2022-11-04T16:52:38.372" v="1378" actId="1076"/>
          <ac:picMkLst>
            <pc:docMk/>
            <pc:sldMk cId="2742075277" sldId="260"/>
            <ac:picMk id="10" creationId="{3EC775B4-078F-E68C-EBA1-F9FC8C3B1564}"/>
          </ac:picMkLst>
        </pc:picChg>
        <pc:picChg chg="add del mod">
          <ac:chgData name="Patrick DELABORDE" userId="ce7802e3ec4542a8" providerId="LiveId" clId="{4CB88F4A-2891-4C24-AA58-25693C1979F3}" dt="2022-11-03T10:04:06.499" v="117" actId="478"/>
          <ac:picMkLst>
            <pc:docMk/>
            <pc:sldMk cId="2742075277" sldId="260"/>
            <ac:picMk id="10" creationId="{E98503AE-EE47-09E8-42F9-EF457F3168A7}"/>
          </ac:picMkLst>
        </pc:picChg>
        <pc:picChg chg="add del mod">
          <ac:chgData name="Patrick DELABORDE" userId="ce7802e3ec4542a8" providerId="LiveId" clId="{4CB88F4A-2891-4C24-AA58-25693C1979F3}" dt="2022-11-03T10:04:05.481" v="116" actId="478"/>
          <ac:picMkLst>
            <pc:docMk/>
            <pc:sldMk cId="2742075277" sldId="260"/>
            <ac:picMk id="11" creationId="{20F41F5D-E3CA-80B2-D2C8-7D6B6BA44B90}"/>
          </ac:picMkLst>
        </pc:picChg>
        <pc:picChg chg="add mod">
          <ac:chgData name="Patrick DELABORDE" userId="ce7802e3ec4542a8" providerId="LiveId" clId="{4CB88F4A-2891-4C24-AA58-25693C1979F3}" dt="2022-11-04T16:52:30.586" v="1375" actId="1076"/>
          <ac:picMkLst>
            <pc:docMk/>
            <pc:sldMk cId="2742075277" sldId="260"/>
            <ac:picMk id="12" creationId="{26F1EE80-4697-8EF2-2A3E-73F49FC18C9E}"/>
          </ac:picMkLst>
        </pc:picChg>
        <pc:picChg chg="del mod">
          <ac:chgData name="Patrick DELABORDE" userId="ce7802e3ec4542a8" providerId="LiveId" clId="{4CB88F4A-2891-4C24-AA58-25693C1979F3}" dt="2022-11-03T10:59:13.359" v="631" actId="478"/>
          <ac:picMkLst>
            <pc:docMk/>
            <pc:sldMk cId="2742075277" sldId="260"/>
            <ac:picMk id="13" creationId="{BB4CE793-EBC3-1E20-A341-563C26743776}"/>
          </ac:picMkLst>
        </pc:picChg>
        <pc:picChg chg="add del mod">
          <ac:chgData name="Patrick DELABORDE" userId="ce7802e3ec4542a8" providerId="LiveId" clId="{4CB88F4A-2891-4C24-AA58-25693C1979F3}" dt="2022-11-03T13:36:37.758" v="681" actId="478"/>
          <ac:picMkLst>
            <pc:docMk/>
            <pc:sldMk cId="2742075277" sldId="260"/>
            <ac:picMk id="14" creationId="{2DF6C1AF-E840-9C41-C18D-C2C4560172FB}"/>
          </ac:picMkLst>
        </pc:picChg>
        <pc:picChg chg="add del mod">
          <ac:chgData name="Patrick DELABORDE" userId="ce7802e3ec4542a8" providerId="LiveId" clId="{4CB88F4A-2891-4C24-AA58-25693C1979F3}" dt="2022-11-03T13:39:36.900" v="685" actId="478"/>
          <ac:picMkLst>
            <pc:docMk/>
            <pc:sldMk cId="2742075277" sldId="260"/>
            <ac:picMk id="16" creationId="{F2D08D97-D6C4-33A8-1412-C48E6628E09F}"/>
          </ac:picMkLst>
        </pc:picChg>
        <pc:picChg chg="del mod">
          <ac:chgData name="Patrick DELABORDE" userId="ce7802e3ec4542a8" providerId="LiveId" clId="{4CB88F4A-2891-4C24-AA58-25693C1979F3}" dt="2022-11-04T16:52:21.876" v="1371" actId="478"/>
          <ac:picMkLst>
            <pc:docMk/>
            <pc:sldMk cId="2742075277" sldId="260"/>
            <ac:picMk id="17" creationId="{08D1F43A-08B7-CDA0-827C-C111E2644FEF}"/>
          </ac:picMkLst>
        </pc:picChg>
        <pc:picChg chg="add mod">
          <ac:chgData name="Patrick DELABORDE" userId="ce7802e3ec4542a8" providerId="LiveId" clId="{4CB88F4A-2891-4C24-AA58-25693C1979F3}" dt="2022-11-04T16:52:25.400" v="1372" actId="1076"/>
          <ac:picMkLst>
            <pc:docMk/>
            <pc:sldMk cId="2742075277" sldId="260"/>
            <ac:picMk id="19" creationId="{D2BD197E-42C6-E068-7B5E-8665C5337EA8}"/>
          </ac:picMkLst>
        </pc:picChg>
        <pc:picChg chg="add del mod">
          <ac:chgData name="Patrick DELABORDE" userId="ce7802e3ec4542a8" providerId="LiveId" clId="{4CB88F4A-2891-4C24-AA58-25693C1979F3}" dt="2022-11-03T13:30:16.899" v="671" actId="478"/>
          <ac:picMkLst>
            <pc:docMk/>
            <pc:sldMk cId="2742075277" sldId="260"/>
            <ac:picMk id="20" creationId="{52E5727E-AE28-BC99-289C-C4C7838C604C}"/>
          </ac:picMkLst>
        </pc:picChg>
        <pc:picChg chg="add del mod">
          <ac:chgData name="Patrick DELABORDE" userId="ce7802e3ec4542a8" providerId="LiveId" clId="{4CB88F4A-2891-4C24-AA58-25693C1979F3}" dt="2022-11-03T13:34:40.369" v="673" actId="478"/>
          <ac:picMkLst>
            <pc:docMk/>
            <pc:sldMk cId="2742075277" sldId="260"/>
            <ac:picMk id="21" creationId="{A00A0783-A11C-6BC3-2552-2BB482F94AF6}"/>
          </ac:picMkLst>
        </pc:picChg>
        <pc:picChg chg="add mod">
          <ac:chgData name="Patrick DELABORDE" userId="ce7802e3ec4542a8" providerId="LiveId" clId="{4CB88F4A-2891-4C24-AA58-25693C1979F3}" dt="2022-11-04T16:52:35.580" v="1377" actId="1076"/>
          <ac:picMkLst>
            <pc:docMk/>
            <pc:sldMk cId="2742075277" sldId="260"/>
            <ac:picMk id="23" creationId="{7BFD3ABF-E9C3-0776-8B4B-8B0C4D8C6D80}"/>
          </ac:picMkLst>
        </pc:picChg>
        <pc:picChg chg="add mod">
          <ac:chgData name="Patrick DELABORDE" userId="ce7802e3ec4542a8" providerId="LiveId" clId="{4CB88F4A-2891-4C24-AA58-25693C1979F3}" dt="2022-11-04T16:52:33.537" v="1376" actId="1076"/>
          <ac:picMkLst>
            <pc:docMk/>
            <pc:sldMk cId="2742075277" sldId="260"/>
            <ac:picMk id="25" creationId="{435DB75D-1024-959C-D428-4F40ACF4E09A}"/>
          </ac:picMkLst>
        </pc:picChg>
        <pc:picChg chg="add mod">
          <ac:chgData name="Patrick DELABORDE" userId="ce7802e3ec4542a8" providerId="LiveId" clId="{4CB88F4A-2891-4C24-AA58-25693C1979F3}" dt="2022-11-04T16:52:41.659" v="1380" actId="1076"/>
          <ac:picMkLst>
            <pc:docMk/>
            <pc:sldMk cId="2742075277" sldId="260"/>
            <ac:picMk id="27" creationId="{1379F173-667E-D464-6E02-1D21AB1F2E37}"/>
          </ac:picMkLst>
        </pc:picChg>
        <pc:picChg chg="add mod">
          <ac:chgData name="Patrick DELABORDE" userId="ce7802e3ec4542a8" providerId="LiveId" clId="{4CB88F4A-2891-4C24-AA58-25693C1979F3}" dt="2022-11-04T16:52:40.008" v="1379" actId="1076"/>
          <ac:picMkLst>
            <pc:docMk/>
            <pc:sldMk cId="2742075277" sldId="260"/>
            <ac:picMk id="29" creationId="{F01CBBC8-BEB0-2C69-23D9-4F8657351DC5}"/>
          </ac:picMkLst>
        </pc:picChg>
      </pc:sldChg>
      <pc:sldChg chg="del">
        <pc:chgData name="Patrick DELABORDE" userId="ce7802e3ec4542a8" providerId="LiveId" clId="{4CB88F4A-2891-4C24-AA58-25693C1979F3}" dt="2022-11-03T15:22:26.257" v="1121" actId="47"/>
        <pc:sldMkLst>
          <pc:docMk/>
          <pc:sldMk cId="1985508432" sldId="262"/>
        </pc:sldMkLst>
      </pc:sldChg>
      <pc:sldChg chg="del">
        <pc:chgData name="Patrick DELABORDE" userId="ce7802e3ec4542a8" providerId="LiveId" clId="{4CB88F4A-2891-4C24-AA58-25693C1979F3}" dt="2022-11-03T15:22:26.257" v="1121" actId="47"/>
        <pc:sldMkLst>
          <pc:docMk/>
          <pc:sldMk cId="342094260" sldId="263"/>
        </pc:sldMkLst>
      </pc:sldChg>
      <pc:sldChg chg="addSp delSp modSp add mod">
        <pc:chgData name="Patrick DELABORDE" userId="ce7802e3ec4542a8" providerId="LiveId" clId="{4CB88F4A-2891-4C24-AA58-25693C1979F3}" dt="2022-11-07T15:08:18.865" v="3372" actId="207"/>
        <pc:sldMkLst>
          <pc:docMk/>
          <pc:sldMk cId="2440149455" sldId="264"/>
        </pc:sldMkLst>
        <pc:spChg chg="mod">
          <ac:chgData name="Patrick DELABORDE" userId="ce7802e3ec4542a8" providerId="LiveId" clId="{4CB88F4A-2891-4C24-AA58-25693C1979F3}" dt="2022-11-07T15:08:18.865" v="3372" actId="207"/>
          <ac:spMkLst>
            <pc:docMk/>
            <pc:sldMk cId="2440149455" sldId="264"/>
            <ac:spMk id="2" creationId="{68EB4D0E-5593-9E46-A193-219F2EFF39C0}"/>
          </ac:spMkLst>
        </pc:spChg>
        <pc:spChg chg="mod">
          <ac:chgData name="Patrick DELABORDE" userId="ce7802e3ec4542a8" providerId="LiveId" clId="{4CB88F4A-2891-4C24-AA58-25693C1979F3}" dt="2022-11-07T13:44:17.448" v="2768" actId="207"/>
          <ac:spMkLst>
            <pc:docMk/>
            <pc:sldMk cId="2440149455" sldId="264"/>
            <ac:spMk id="3" creationId="{010BD53E-9915-CB8F-2695-6192F0C448A8}"/>
          </ac:spMkLst>
        </pc:spChg>
        <pc:picChg chg="add del mod">
          <ac:chgData name="Patrick DELABORDE" userId="ce7802e3ec4542a8" providerId="LiveId" clId="{4CB88F4A-2891-4C24-AA58-25693C1979F3}" dt="2022-11-03T14:47:15.174" v="1052" actId="478"/>
          <ac:picMkLst>
            <pc:docMk/>
            <pc:sldMk cId="2440149455" sldId="264"/>
            <ac:picMk id="6" creationId="{897BE8C5-B139-3758-2476-6DB760827FF7}"/>
          </ac:picMkLst>
        </pc:picChg>
        <pc:picChg chg="add del mod">
          <ac:chgData name="Patrick DELABORDE" userId="ce7802e3ec4542a8" providerId="LiveId" clId="{4CB88F4A-2891-4C24-AA58-25693C1979F3}" dt="2022-11-03T14:50:51.723" v="1078" actId="478"/>
          <ac:picMkLst>
            <pc:docMk/>
            <pc:sldMk cId="2440149455" sldId="264"/>
            <ac:picMk id="8" creationId="{5B97026C-7DB3-89C4-0240-CAD9E8AFEBDA}"/>
          </ac:picMkLst>
        </pc:picChg>
        <pc:picChg chg="add del mod">
          <ac:chgData name="Patrick DELABORDE" userId="ce7802e3ec4542a8" providerId="LiveId" clId="{4CB88F4A-2891-4C24-AA58-25693C1979F3}" dt="2022-11-03T14:59:38.928" v="1081" actId="478"/>
          <ac:picMkLst>
            <pc:docMk/>
            <pc:sldMk cId="2440149455" sldId="264"/>
            <ac:picMk id="10" creationId="{6620C823-1A4C-DEDC-08A9-54B9885CB9A7}"/>
          </ac:picMkLst>
        </pc:picChg>
        <pc:picChg chg="add del mod">
          <ac:chgData name="Patrick DELABORDE" userId="ce7802e3ec4542a8" providerId="LiveId" clId="{4CB88F4A-2891-4C24-AA58-25693C1979F3}" dt="2022-11-03T14:59:49.707" v="1084" actId="478"/>
          <ac:picMkLst>
            <pc:docMk/>
            <pc:sldMk cId="2440149455" sldId="264"/>
            <ac:picMk id="12" creationId="{15465825-F56A-7860-90BC-C339507C33EE}"/>
          </ac:picMkLst>
        </pc:picChg>
        <pc:picChg chg="add mod">
          <ac:chgData name="Patrick DELABORDE" userId="ce7802e3ec4542a8" providerId="LiveId" clId="{4CB88F4A-2891-4C24-AA58-25693C1979F3}" dt="2022-11-03T15:00:20.945" v="1089" actId="1076"/>
          <ac:picMkLst>
            <pc:docMk/>
            <pc:sldMk cId="2440149455" sldId="264"/>
            <ac:picMk id="14" creationId="{9450A8FE-BE71-A97B-472E-B1B10A5260EB}"/>
          </ac:picMkLst>
        </pc:picChg>
      </pc:sldChg>
      <pc:sldChg chg="addSp delSp modSp add mod">
        <pc:chgData name="Patrick DELABORDE" userId="ce7802e3ec4542a8" providerId="LiveId" clId="{4CB88F4A-2891-4C24-AA58-25693C1979F3}" dt="2022-11-07T15:08:47.082" v="3373" actId="207"/>
        <pc:sldMkLst>
          <pc:docMk/>
          <pc:sldMk cId="2781022424" sldId="283"/>
        </pc:sldMkLst>
        <pc:spChg chg="mod">
          <ac:chgData name="Patrick DELABORDE" userId="ce7802e3ec4542a8" providerId="LiveId" clId="{4CB88F4A-2891-4C24-AA58-25693C1979F3}" dt="2022-11-07T15:08:47.082" v="3373" actId="207"/>
          <ac:spMkLst>
            <pc:docMk/>
            <pc:sldMk cId="2781022424" sldId="283"/>
            <ac:spMk id="2" creationId="{231C616E-8E76-F6F4-538C-C5794D9EEEC7}"/>
          </ac:spMkLst>
        </pc:spChg>
        <pc:spChg chg="mod">
          <ac:chgData name="Patrick DELABORDE" userId="ce7802e3ec4542a8" providerId="LiveId" clId="{4CB88F4A-2891-4C24-AA58-25693C1979F3}" dt="2022-11-03T14:18:13.130" v="897" actId="20577"/>
          <ac:spMkLst>
            <pc:docMk/>
            <pc:sldMk cId="2781022424" sldId="283"/>
            <ac:spMk id="3" creationId="{BABE27DE-30F4-0F1D-618C-F4AB3F4B3A9B}"/>
          </ac:spMkLst>
        </pc:spChg>
        <pc:spChg chg="add mod">
          <ac:chgData name="Patrick DELABORDE" userId="ce7802e3ec4542a8" providerId="LiveId" clId="{4CB88F4A-2891-4C24-AA58-25693C1979F3}" dt="2022-11-03T14:19:40.589" v="907" actId="1076"/>
          <ac:spMkLst>
            <pc:docMk/>
            <pc:sldMk cId="2781022424" sldId="283"/>
            <ac:spMk id="8" creationId="{17A3DEE5-1A33-35A4-5BF9-15BF26EA52DA}"/>
          </ac:spMkLst>
        </pc:spChg>
        <pc:spChg chg="add mod">
          <ac:chgData name="Patrick DELABORDE" userId="ce7802e3ec4542a8" providerId="LiveId" clId="{4CB88F4A-2891-4C24-AA58-25693C1979F3}" dt="2022-11-03T14:19:03.432" v="901" actId="1076"/>
          <ac:spMkLst>
            <pc:docMk/>
            <pc:sldMk cId="2781022424" sldId="283"/>
            <ac:spMk id="9" creationId="{DCEF10ED-BA9A-F17B-A77A-BEC6D80B3FB0}"/>
          </ac:spMkLst>
        </pc:spChg>
        <pc:picChg chg="add mod">
          <ac:chgData name="Patrick DELABORDE" userId="ce7802e3ec4542a8" providerId="LiveId" clId="{4CB88F4A-2891-4C24-AA58-25693C1979F3}" dt="2022-11-03T14:24:45.499" v="911" actId="1076"/>
          <ac:picMkLst>
            <pc:docMk/>
            <pc:sldMk cId="2781022424" sldId="283"/>
            <ac:picMk id="6" creationId="{86ACC600-1218-41FC-73BC-563EBD937CB8}"/>
          </ac:picMkLst>
        </pc:picChg>
        <pc:picChg chg="add mod">
          <ac:chgData name="Patrick DELABORDE" userId="ce7802e3ec4542a8" providerId="LiveId" clId="{4CB88F4A-2891-4C24-AA58-25693C1979F3}" dt="2022-11-03T14:19:33.738" v="906" actId="1076"/>
          <ac:picMkLst>
            <pc:docMk/>
            <pc:sldMk cId="2781022424" sldId="283"/>
            <ac:picMk id="7" creationId="{73E1419A-F9A1-3B8C-DD26-892FE3B260D7}"/>
          </ac:picMkLst>
        </pc:picChg>
        <pc:picChg chg="add mod">
          <ac:chgData name="Patrick DELABORDE" userId="ce7802e3ec4542a8" providerId="LiveId" clId="{4CB88F4A-2891-4C24-AA58-25693C1979F3}" dt="2022-11-03T14:24:14.526" v="910" actId="14100"/>
          <ac:picMkLst>
            <pc:docMk/>
            <pc:sldMk cId="2781022424" sldId="283"/>
            <ac:picMk id="11" creationId="{A5A7B88F-DFB5-C964-2625-A7A23FBC8C00}"/>
          </ac:picMkLst>
        </pc:picChg>
        <pc:picChg chg="add del">
          <ac:chgData name="Patrick DELABORDE" userId="ce7802e3ec4542a8" providerId="LiveId" clId="{4CB88F4A-2891-4C24-AA58-25693C1979F3}" dt="2022-11-03T14:26:01.657" v="913" actId="22"/>
          <ac:picMkLst>
            <pc:docMk/>
            <pc:sldMk cId="2781022424" sldId="283"/>
            <ac:picMk id="13" creationId="{9E7C6A66-4E11-BE05-8044-0B3A39DC0785}"/>
          </ac:picMkLst>
        </pc:picChg>
      </pc:sldChg>
      <pc:sldChg chg="addSp delSp modSp add mod">
        <pc:chgData name="Patrick DELABORDE" userId="ce7802e3ec4542a8" providerId="LiveId" clId="{4CB88F4A-2891-4C24-AA58-25693C1979F3}" dt="2022-11-07T15:07:43.134" v="3370" actId="207"/>
        <pc:sldMkLst>
          <pc:docMk/>
          <pc:sldMk cId="366811053" sldId="286"/>
        </pc:sldMkLst>
        <pc:spChg chg="mod">
          <ac:chgData name="Patrick DELABORDE" userId="ce7802e3ec4542a8" providerId="LiveId" clId="{4CB88F4A-2891-4C24-AA58-25693C1979F3}" dt="2022-11-07T15:07:43.134" v="3370" actId="207"/>
          <ac:spMkLst>
            <pc:docMk/>
            <pc:sldMk cId="366811053" sldId="286"/>
            <ac:spMk id="2" creationId="{A9D65A2C-EDD3-97B3-0522-280FDC321961}"/>
          </ac:spMkLst>
        </pc:spChg>
        <pc:spChg chg="add mod">
          <ac:chgData name="Patrick DELABORDE" userId="ce7802e3ec4542a8" providerId="LiveId" clId="{4CB88F4A-2891-4C24-AA58-25693C1979F3}" dt="2022-11-04T16:45:26.212" v="1273" actId="113"/>
          <ac:spMkLst>
            <pc:docMk/>
            <pc:sldMk cId="366811053" sldId="286"/>
            <ac:spMk id="7" creationId="{74F6D7BE-98F0-D435-3BD8-905E3257BB0A}"/>
          </ac:spMkLst>
        </pc:spChg>
        <pc:picChg chg="add mod">
          <ac:chgData name="Patrick DELABORDE" userId="ce7802e3ec4542a8" providerId="LiveId" clId="{4CB88F4A-2891-4C24-AA58-25693C1979F3}" dt="2022-11-04T16:43:41.046" v="1124" actId="1076"/>
          <ac:picMkLst>
            <pc:docMk/>
            <pc:sldMk cId="366811053" sldId="286"/>
            <ac:picMk id="3" creationId="{D9EB8B61-EBB8-CE8A-BC29-051A7E47EA76}"/>
          </ac:picMkLst>
        </pc:picChg>
        <pc:picChg chg="mod">
          <ac:chgData name="Patrick DELABORDE" userId="ce7802e3ec4542a8" providerId="LiveId" clId="{4CB88F4A-2891-4C24-AA58-25693C1979F3}" dt="2022-11-03T14:27:57.154" v="917" actId="1076"/>
          <ac:picMkLst>
            <pc:docMk/>
            <pc:sldMk cId="366811053" sldId="286"/>
            <ac:picMk id="6" creationId="{57BD6AE9-5F34-EB84-B84A-2F0D4DB2AF2F}"/>
          </ac:picMkLst>
        </pc:picChg>
        <pc:picChg chg="del mod">
          <ac:chgData name="Patrick DELABORDE" userId="ce7802e3ec4542a8" providerId="LiveId" clId="{4CB88F4A-2891-4C24-AA58-25693C1979F3}" dt="2022-11-03T14:28:14.123" v="921" actId="478"/>
          <ac:picMkLst>
            <pc:docMk/>
            <pc:sldMk cId="366811053" sldId="286"/>
            <ac:picMk id="7" creationId="{0F97855E-C18E-2E7B-3C7C-9688D3CF13D3}"/>
          </ac:picMkLst>
        </pc:picChg>
        <pc:picChg chg="mod">
          <ac:chgData name="Patrick DELABORDE" userId="ce7802e3ec4542a8" providerId="LiveId" clId="{4CB88F4A-2891-4C24-AA58-25693C1979F3}" dt="2022-11-03T14:28:17.797" v="922" actId="1076"/>
          <ac:picMkLst>
            <pc:docMk/>
            <pc:sldMk cId="366811053" sldId="286"/>
            <ac:picMk id="8" creationId="{B4939968-2E1A-35C5-DBE7-E0321D894CAA}"/>
          </ac:picMkLst>
        </pc:picChg>
        <pc:picChg chg="mod">
          <ac:chgData name="Patrick DELABORDE" userId="ce7802e3ec4542a8" providerId="LiveId" clId="{4CB88F4A-2891-4C24-AA58-25693C1979F3}" dt="2022-11-03T14:28:33.414" v="925" actId="1076"/>
          <ac:picMkLst>
            <pc:docMk/>
            <pc:sldMk cId="366811053" sldId="286"/>
            <ac:picMk id="9" creationId="{E38E8F78-EA01-9495-20BE-3DAEAB0CD73B}"/>
          </ac:picMkLst>
        </pc:picChg>
        <pc:picChg chg="del">
          <ac:chgData name="Patrick DELABORDE" userId="ce7802e3ec4542a8" providerId="LiveId" clId="{4CB88F4A-2891-4C24-AA58-25693C1979F3}" dt="2022-11-03T14:26:15.990" v="915" actId="478"/>
          <ac:picMkLst>
            <pc:docMk/>
            <pc:sldMk cId="366811053" sldId="286"/>
            <ac:picMk id="10" creationId="{7AC4C77B-2270-139B-6D37-30B9DCCD5B23}"/>
          </ac:picMkLst>
        </pc:picChg>
        <pc:picChg chg="mod">
          <ac:chgData name="Patrick DELABORDE" userId="ce7802e3ec4542a8" providerId="LiveId" clId="{4CB88F4A-2891-4C24-AA58-25693C1979F3}" dt="2022-11-03T14:28:55.362" v="930" actId="1076"/>
          <ac:picMkLst>
            <pc:docMk/>
            <pc:sldMk cId="366811053" sldId="286"/>
            <ac:picMk id="11" creationId="{B62A48C4-8FE6-6623-7C9A-EABC62EA56F7}"/>
          </ac:picMkLst>
        </pc:picChg>
        <pc:picChg chg="del">
          <ac:chgData name="Patrick DELABORDE" userId="ce7802e3ec4542a8" providerId="LiveId" clId="{4CB88F4A-2891-4C24-AA58-25693C1979F3}" dt="2022-11-03T14:28:47.831" v="929" actId="478"/>
          <ac:picMkLst>
            <pc:docMk/>
            <pc:sldMk cId="366811053" sldId="286"/>
            <ac:picMk id="12" creationId="{592DF5CD-765E-10B7-73B9-1DE4C44D4921}"/>
          </ac:picMkLst>
        </pc:picChg>
        <pc:picChg chg="add mod">
          <ac:chgData name="Patrick DELABORDE" userId="ce7802e3ec4542a8" providerId="LiveId" clId="{4CB88F4A-2891-4C24-AA58-25693C1979F3}" dt="2022-11-04T16:43:45.187" v="1125" actId="1076"/>
          <ac:picMkLst>
            <pc:docMk/>
            <pc:sldMk cId="366811053" sldId="286"/>
            <ac:picMk id="14" creationId="{C003DB86-9EBE-FE1C-5201-4A7C38D41959}"/>
          </ac:picMkLst>
        </pc:picChg>
      </pc:sldChg>
      <pc:sldChg chg="del">
        <pc:chgData name="Patrick DELABORDE" userId="ce7802e3ec4542a8" providerId="LiveId" clId="{4CB88F4A-2891-4C24-AA58-25693C1979F3}" dt="2022-11-03T15:22:26.257" v="1121" actId="47"/>
        <pc:sldMkLst>
          <pc:docMk/>
          <pc:sldMk cId="4160658707" sldId="308"/>
        </pc:sldMkLst>
      </pc:sldChg>
      <pc:sldChg chg="del">
        <pc:chgData name="Patrick DELABORDE" userId="ce7802e3ec4542a8" providerId="LiveId" clId="{4CB88F4A-2891-4C24-AA58-25693C1979F3}" dt="2022-11-03T15:22:26.257" v="1121" actId="47"/>
        <pc:sldMkLst>
          <pc:docMk/>
          <pc:sldMk cId="2624424727" sldId="309"/>
        </pc:sldMkLst>
      </pc:sldChg>
      <pc:sldChg chg="del">
        <pc:chgData name="Patrick DELABORDE" userId="ce7802e3ec4542a8" providerId="LiveId" clId="{4CB88F4A-2891-4C24-AA58-25693C1979F3}" dt="2022-11-03T15:22:26.257" v="1121" actId="47"/>
        <pc:sldMkLst>
          <pc:docMk/>
          <pc:sldMk cId="258256603" sldId="310"/>
        </pc:sldMkLst>
      </pc:sldChg>
      <pc:sldChg chg="del">
        <pc:chgData name="Patrick DELABORDE" userId="ce7802e3ec4542a8" providerId="LiveId" clId="{4CB88F4A-2891-4C24-AA58-25693C1979F3}" dt="2022-11-03T15:22:26.257" v="1121" actId="47"/>
        <pc:sldMkLst>
          <pc:docMk/>
          <pc:sldMk cId="874902368" sldId="311"/>
        </pc:sldMkLst>
      </pc:sldChg>
      <pc:sldChg chg="del">
        <pc:chgData name="Patrick DELABORDE" userId="ce7802e3ec4542a8" providerId="LiveId" clId="{4CB88F4A-2891-4C24-AA58-25693C1979F3}" dt="2022-11-03T15:22:26.257" v="1121" actId="47"/>
        <pc:sldMkLst>
          <pc:docMk/>
          <pc:sldMk cId="3145360915" sldId="312"/>
        </pc:sldMkLst>
      </pc:sldChg>
      <pc:sldChg chg="del">
        <pc:chgData name="Patrick DELABORDE" userId="ce7802e3ec4542a8" providerId="LiveId" clId="{4CB88F4A-2891-4C24-AA58-25693C1979F3}" dt="2022-11-03T15:22:26.257" v="1121" actId="47"/>
        <pc:sldMkLst>
          <pc:docMk/>
          <pc:sldMk cId="3789786720" sldId="313"/>
        </pc:sldMkLst>
      </pc:sldChg>
      <pc:sldChg chg="del">
        <pc:chgData name="Patrick DELABORDE" userId="ce7802e3ec4542a8" providerId="LiveId" clId="{4CB88F4A-2891-4C24-AA58-25693C1979F3}" dt="2022-11-03T15:22:26.257" v="1121" actId="47"/>
        <pc:sldMkLst>
          <pc:docMk/>
          <pc:sldMk cId="3409960172" sldId="316"/>
        </pc:sldMkLst>
      </pc:sldChg>
      <pc:sldChg chg="del">
        <pc:chgData name="Patrick DELABORDE" userId="ce7802e3ec4542a8" providerId="LiveId" clId="{4CB88F4A-2891-4C24-AA58-25693C1979F3}" dt="2022-11-03T15:22:26.257" v="1121" actId="47"/>
        <pc:sldMkLst>
          <pc:docMk/>
          <pc:sldMk cId="3590191981" sldId="317"/>
        </pc:sldMkLst>
      </pc:sldChg>
      <pc:sldChg chg="del">
        <pc:chgData name="Patrick DELABORDE" userId="ce7802e3ec4542a8" providerId="LiveId" clId="{4CB88F4A-2891-4C24-AA58-25693C1979F3}" dt="2022-11-03T15:23:33.026" v="1122" actId="47"/>
        <pc:sldMkLst>
          <pc:docMk/>
          <pc:sldMk cId="2040944554" sldId="318"/>
        </pc:sldMkLst>
      </pc:sldChg>
      <pc:sldChg chg="del">
        <pc:chgData name="Patrick DELABORDE" userId="ce7802e3ec4542a8" providerId="LiveId" clId="{4CB88F4A-2891-4C24-AA58-25693C1979F3}" dt="2022-11-03T15:22:26.257" v="1121" actId="47"/>
        <pc:sldMkLst>
          <pc:docMk/>
          <pc:sldMk cId="4161584269" sldId="319"/>
        </pc:sldMkLst>
      </pc:sldChg>
      <pc:sldChg chg="del">
        <pc:chgData name="Patrick DELABORDE" userId="ce7802e3ec4542a8" providerId="LiveId" clId="{4CB88F4A-2891-4C24-AA58-25693C1979F3}" dt="2022-11-03T15:22:26.257" v="1121" actId="47"/>
        <pc:sldMkLst>
          <pc:docMk/>
          <pc:sldMk cId="1693589911" sldId="320"/>
        </pc:sldMkLst>
      </pc:sldChg>
      <pc:sldChg chg="del">
        <pc:chgData name="Patrick DELABORDE" userId="ce7802e3ec4542a8" providerId="LiveId" clId="{4CB88F4A-2891-4C24-AA58-25693C1979F3}" dt="2022-11-03T15:22:26.257" v="1121" actId="47"/>
        <pc:sldMkLst>
          <pc:docMk/>
          <pc:sldMk cId="2343827224" sldId="321"/>
        </pc:sldMkLst>
      </pc:sldChg>
      <pc:sldChg chg="del">
        <pc:chgData name="Patrick DELABORDE" userId="ce7802e3ec4542a8" providerId="LiveId" clId="{4CB88F4A-2891-4C24-AA58-25693C1979F3}" dt="2022-11-03T15:22:26.257" v="1121" actId="47"/>
        <pc:sldMkLst>
          <pc:docMk/>
          <pc:sldMk cId="1281424904" sldId="322"/>
        </pc:sldMkLst>
      </pc:sldChg>
      <pc:sldChg chg="del">
        <pc:chgData name="Patrick DELABORDE" userId="ce7802e3ec4542a8" providerId="LiveId" clId="{4CB88F4A-2891-4C24-AA58-25693C1979F3}" dt="2022-11-03T15:22:26.257" v="1121" actId="47"/>
        <pc:sldMkLst>
          <pc:docMk/>
          <pc:sldMk cId="1890180252" sldId="323"/>
        </pc:sldMkLst>
      </pc:sldChg>
      <pc:sldChg chg="addSp delSp modSp mod">
        <pc:chgData name="Patrick DELABORDE" userId="ce7802e3ec4542a8" providerId="LiveId" clId="{4CB88F4A-2891-4C24-AA58-25693C1979F3}" dt="2022-11-07T15:07:58.282" v="3371" actId="207"/>
        <pc:sldMkLst>
          <pc:docMk/>
          <pc:sldMk cId="3688450085" sldId="324"/>
        </pc:sldMkLst>
        <pc:spChg chg="mod">
          <ac:chgData name="Patrick DELABORDE" userId="ce7802e3ec4542a8" providerId="LiveId" clId="{4CB88F4A-2891-4C24-AA58-25693C1979F3}" dt="2022-11-07T15:07:58.282" v="3371" actId="207"/>
          <ac:spMkLst>
            <pc:docMk/>
            <pc:sldMk cId="3688450085" sldId="324"/>
            <ac:spMk id="2" creationId="{FC0E6EF9-3A88-3D3E-D693-210FE95FA353}"/>
          </ac:spMkLst>
        </pc:spChg>
        <pc:spChg chg="add mod">
          <ac:chgData name="Patrick DELABORDE" userId="ce7802e3ec4542a8" providerId="LiveId" clId="{4CB88F4A-2891-4C24-AA58-25693C1979F3}" dt="2022-11-07T13:54:36.514" v="2803" actId="113"/>
          <ac:spMkLst>
            <pc:docMk/>
            <pc:sldMk cId="3688450085" sldId="324"/>
            <ac:spMk id="3" creationId="{0444EC79-03A3-5426-CADD-8FAF11AF925F}"/>
          </ac:spMkLst>
        </pc:spChg>
        <pc:spChg chg="del">
          <ac:chgData name="Patrick DELABORDE" userId="ce7802e3ec4542a8" providerId="LiveId" clId="{4CB88F4A-2891-4C24-AA58-25693C1979F3}" dt="2022-11-04T16:46:49.540" v="1307" actId="478"/>
          <ac:spMkLst>
            <pc:docMk/>
            <pc:sldMk cId="3688450085" sldId="324"/>
            <ac:spMk id="3" creationId="{8F3D4C28-A326-5F07-71E9-A53337B041E1}"/>
          </ac:spMkLst>
        </pc:spChg>
        <pc:spChg chg="del">
          <ac:chgData name="Patrick DELABORDE" userId="ce7802e3ec4542a8" providerId="LiveId" clId="{4CB88F4A-2891-4C24-AA58-25693C1979F3}" dt="2022-11-04T16:48:50.319" v="1337" actId="478"/>
          <ac:spMkLst>
            <pc:docMk/>
            <pc:sldMk cId="3688450085" sldId="324"/>
            <ac:spMk id="8" creationId="{0DB1B9C9-1E39-6F1C-D461-1C44BAF2E4CD}"/>
          </ac:spMkLst>
        </pc:spChg>
        <pc:spChg chg="del">
          <ac:chgData name="Patrick DELABORDE" userId="ce7802e3ec4542a8" providerId="LiveId" clId="{4CB88F4A-2891-4C24-AA58-25693C1979F3}" dt="2022-11-04T16:48:50.319" v="1337" actId="478"/>
          <ac:spMkLst>
            <pc:docMk/>
            <pc:sldMk cId="3688450085" sldId="324"/>
            <ac:spMk id="10" creationId="{67A6F307-A956-505E-65EA-5C8E29496E46}"/>
          </ac:spMkLst>
        </pc:spChg>
        <pc:spChg chg="del">
          <ac:chgData name="Patrick DELABORDE" userId="ce7802e3ec4542a8" providerId="LiveId" clId="{4CB88F4A-2891-4C24-AA58-25693C1979F3}" dt="2022-11-04T16:48:50.319" v="1337" actId="478"/>
          <ac:spMkLst>
            <pc:docMk/>
            <pc:sldMk cId="3688450085" sldId="324"/>
            <ac:spMk id="11" creationId="{DF1B14EC-481B-7748-B712-EA7360063EEA}"/>
          </ac:spMkLst>
        </pc:spChg>
        <pc:spChg chg="del">
          <ac:chgData name="Patrick DELABORDE" userId="ce7802e3ec4542a8" providerId="LiveId" clId="{4CB88F4A-2891-4C24-AA58-25693C1979F3}" dt="2022-11-04T16:48:50.319" v="1337" actId="478"/>
          <ac:spMkLst>
            <pc:docMk/>
            <pc:sldMk cId="3688450085" sldId="324"/>
            <ac:spMk id="12" creationId="{7FDD7B13-37A2-35A9-066E-290F1DC39721}"/>
          </ac:spMkLst>
        </pc:spChg>
        <pc:spChg chg="del">
          <ac:chgData name="Patrick DELABORDE" userId="ce7802e3ec4542a8" providerId="LiveId" clId="{4CB88F4A-2891-4C24-AA58-25693C1979F3}" dt="2022-11-04T16:48:50.319" v="1337" actId="478"/>
          <ac:spMkLst>
            <pc:docMk/>
            <pc:sldMk cId="3688450085" sldId="324"/>
            <ac:spMk id="13" creationId="{63CD3A50-A4C0-0806-702D-6D2BB42A8F82}"/>
          </ac:spMkLst>
        </pc:spChg>
        <pc:spChg chg="del">
          <ac:chgData name="Patrick DELABORDE" userId="ce7802e3ec4542a8" providerId="LiveId" clId="{4CB88F4A-2891-4C24-AA58-25693C1979F3}" dt="2022-11-04T16:48:50.319" v="1337" actId="478"/>
          <ac:spMkLst>
            <pc:docMk/>
            <pc:sldMk cId="3688450085" sldId="324"/>
            <ac:spMk id="14" creationId="{A7CF9A68-82EB-CF7C-7EAD-452622B43101}"/>
          </ac:spMkLst>
        </pc:spChg>
        <pc:spChg chg="mod">
          <ac:chgData name="Patrick DELABORDE" userId="ce7802e3ec4542a8" providerId="LiveId" clId="{4CB88F4A-2891-4C24-AA58-25693C1979F3}" dt="2022-11-05T21:14:54.182" v="2075" actId="20577"/>
          <ac:spMkLst>
            <pc:docMk/>
            <pc:sldMk cId="3688450085" sldId="324"/>
            <ac:spMk id="18" creationId="{D166A7BA-8E44-0D5C-4903-420B196C3DA9}"/>
          </ac:spMkLst>
        </pc:spChg>
        <pc:spChg chg="add del mod">
          <ac:chgData name="Patrick DELABORDE" userId="ce7802e3ec4542a8" providerId="LiveId" clId="{4CB88F4A-2891-4C24-AA58-25693C1979F3}" dt="2022-11-04T16:46:59.780" v="1309" actId="478"/>
          <ac:spMkLst>
            <pc:docMk/>
            <pc:sldMk cId="3688450085" sldId="324"/>
            <ac:spMk id="19" creationId="{778B2970-E1EC-F7C3-23D8-4FC9A4F1A212}"/>
          </ac:spMkLst>
        </pc:spChg>
        <pc:spChg chg="add mod">
          <ac:chgData name="Patrick DELABORDE" userId="ce7802e3ec4542a8" providerId="LiveId" clId="{4CB88F4A-2891-4C24-AA58-25693C1979F3}" dt="2022-11-05T20:56:33.167" v="1742" actId="1076"/>
          <ac:spMkLst>
            <pc:docMk/>
            <pc:sldMk cId="3688450085" sldId="324"/>
            <ac:spMk id="31" creationId="{24CE9691-9B21-093B-E01E-776407D8081D}"/>
          </ac:spMkLst>
        </pc:spChg>
        <pc:spChg chg="add del mod">
          <ac:chgData name="Patrick DELABORDE" userId="ce7802e3ec4542a8" providerId="LiveId" clId="{4CB88F4A-2891-4C24-AA58-25693C1979F3}" dt="2022-11-05T20:56:37.961" v="1743" actId="478"/>
          <ac:spMkLst>
            <pc:docMk/>
            <pc:sldMk cId="3688450085" sldId="324"/>
            <ac:spMk id="32" creationId="{099A0141-1D36-9DCF-0E60-0FC71A54112F}"/>
          </ac:spMkLst>
        </pc:spChg>
        <pc:spChg chg="add mod">
          <ac:chgData name="Patrick DELABORDE" userId="ce7802e3ec4542a8" providerId="LiveId" clId="{4CB88F4A-2891-4C24-AA58-25693C1979F3}" dt="2022-11-05T21:00:37.163" v="1860" actId="688"/>
          <ac:spMkLst>
            <pc:docMk/>
            <pc:sldMk cId="3688450085" sldId="324"/>
            <ac:spMk id="33" creationId="{6E1E7A2B-13DC-60E5-D116-CBA80F40F90D}"/>
          </ac:spMkLst>
        </pc:spChg>
        <pc:spChg chg="add del mod">
          <ac:chgData name="Patrick DELABORDE" userId="ce7802e3ec4542a8" providerId="LiveId" clId="{4CB88F4A-2891-4C24-AA58-25693C1979F3}" dt="2022-11-05T21:00:56.186" v="1862" actId="478"/>
          <ac:spMkLst>
            <pc:docMk/>
            <pc:sldMk cId="3688450085" sldId="324"/>
            <ac:spMk id="34" creationId="{CFCBDB51-D9BE-99A7-9334-4C4F5AB19E6F}"/>
          </ac:spMkLst>
        </pc:spChg>
        <pc:spChg chg="add mod">
          <ac:chgData name="Patrick DELABORDE" userId="ce7802e3ec4542a8" providerId="LiveId" clId="{4CB88F4A-2891-4C24-AA58-25693C1979F3}" dt="2022-11-05T20:57:58.196" v="1760" actId="14100"/>
          <ac:spMkLst>
            <pc:docMk/>
            <pc:sldMk cId="3688450085" sldId="324"/>
            <ac:spMk id="35" creationId="{755593EB-4E44-4DF7-E014-6EBCBF7DC974}"/>
          </ac:spMkLst>
        </pc:spChg>
        <pc:spChg chg="add mod">
          <ac:chgData name="Patrick DELABORDE" userId="ce7802e3ec4542a8" providerId="LiveId" clId="{4CB88F4A-2891-4C24-AA58-25693C1979F3}" dt="2022-11-05T20:57:54.916" v="1759" actId="14100"/>
          <ac:spMkLst>
            <pc:docMk/>
            <pc:sldMk cId="3688450085" sldId="324"/>
            <ac:spMk id="36" creationId="{CA8CFCA7-F25E-0455-71C4-E1E0EE4409FD}"/>
          </ac:spMkLst>
        </pc:spChg>
        <pc:spChg chg="add mod">
          <ac:chgData name="Patrick DELABORDE" userId="ce7802e3ec4542a8" providerId="LiveId" clId="{4CB88F4A-2891-4C24-AA58-25693C1979F3}" dt="2022-11-05T20:59:47.973" v="1847" actId="1076"/>
          <ac:spMkLst>
            <pc:docMk/>
            <pc:sldMk cId="3688450085" sldId="324"/>
            <ac:spMk id="37" creationId="{1C2E6A10-CC0C-6371-6833-B711DBBB00B8}"/>
          </ac:spMkLst>
        </pc:spChg>
        <pc:spChg chg="add mod">
          <ac:chgData name="Patrick DELABORDE" userId="ce7802e3ec4542a8" providerId="LiveId" clId="{4CB88F4A-2891-4C24-AA58-25693C1979F3}" dt="2022-11-07T13:53:57.354" v="2801" actId="1076"/>
          <ac:spMkLst>
            <pc:docMk/>
            <pc:sldMk cId="3688450085" sldId="324"/>
            <ac:spMk id="38" creationId="{89A50941-9F0A-A01B-0CBA-D7FD8AD6929C}"/>
          </ac:spMkLst>
        </pc:spChg>
        <pc:spChg chg="add mod">
          <ac:chgData name="Patrick DELABORDE" userId="ce7802e3ec4542a8" providerId="LiveId" clId="{4CB88F4A-2891-4C24-AA58-25693C1979F3}" dt="2022-11-05T21:15:30.573" v="2079" actId="1076"/>
          <ac:spMkLst>
            <pc:docMk/>
            <pc:sldMk cId="3688450085" sldId="324"/>
            <ac:spMk id="40" creationId="{E47651CF-0F2C-E5F1-7382-7ECED9BFF811}"/>
          </ac:spMkLst>
        </pc:spChg>
        <pc:spChg chg="add mod">
          <ac:chgData name="Patrick DELABORDE" userId="ce7802e3ec4542a8" providerId="LiveId" clId="{4CB88F4A-2891-4C24-AA58-25693C1979F3}" dt="2022-11-05T21:10:50.198" v="1992"/>
          <ac:spMkLst>
            <pc:docMk/>
            <pc:sldMk cId="3688450085" sldId="324"/>
            <ac:spMk id="41" creationId="{45560E4F-8BFC-348C-E61C-23D8BEBF448B}"/>
          </ac:spMkLst>
        </pc:spChg>
        <pc:spChg chg="add mod">
          <ac:chgData name="Patrick DELABORDE" userId="ce7802e3ec4542a8" providerId="LiveId" clId="{4CB88F4A-2891-4C24-AA58-25693C1979F3}" dt="2022-11-05T21:12:07.385" v="2073" actId="1076"/>
          <ac:spMkLst>
            <pc:docMk/>
            <pc:sldMk cId="3688450085" sldId="324"/>
            <ac:spMk id="42" creationId="{295E991D-80EA-AAEE-A890-92C202B4E127}"/>
          </ac:spMkLst>
        </pc:spChg>
        <pc:picChg chg="add del mod">
          <ac:chgData name="Patrick DELABORDE" userId="ce7802e3ec4542a8" providerId="LiveId" clId="{4CB88F4A-2891-4C24-AA58-25693C1979F3}" dt="2022-11-05T20:09:12.110" v="1537" actId="478"/>
          <ac:picMkLst>
            <pc:docMk/>
            <pc:sldMk cId="3688450085" sldId="324"/>
            <ac:picMk id="6" creationId="{C261BF09-CB82-DE0A-E28E-18436CB09B65}"/>
          </ac:picMkLst>
        </pc:picChg>
        <pc:picChg chg="del">
          <ac:chgData name="Patrick DELABORDE" userId="ce7802e3ec4542a8" providerId="LiveId" clId="{4CB88F4A-2891-4C24-AA58-25693C1979F3}" dt="2022-11-04T16:47:23.293" v="1321" actId="478"/>
          <ac:picMkLst>
            <pc:docMk/>
            <pc:sldMk cId="3688450085" sldId="324"/>
            <ac:picMk id="7" creationId="{75D3784D-50AB-9915-29AF-B18277A67392}"/>
          </ac:picMkLst>
        </pc:picChg>
        <pc:picChg chg="add mod">
          <ac:chgData name="Patrick DELABORDE" userId="ce7802e3ec4542a8" providerId="LiveId" clId="{4CB88F4A-2891-4C24-AA58-25693C1979F3}" dt="2022-11-05T20:50:32.828" v="1670" actId="1076"/>
          <ac:picMkLst>
            <pc:docMk/>
            <pc:sldMk cId="3688450085" sldId="324"/>
            <ac:picMk id="8" creationId="{A5B016D0-DEA8-2721-2A48-DF746ADBE3C0}"/>
          </ac:picMkLst>
        </pc:picChg>
        <pc:picChg chg="del">
          <ac:chgData name="Patrick DELABORDE" userId="ce7802e3ec4542a8" providerId="LiveId" clId="{4CB88F4A-2891-4C24-AA58-25693C1979F3}" dt="2022-11-04T16:47:41.980" v="1326" actId="478"/>
          <ac:picMkLst>
            <pc:docMk/>
            <pc:sldMk cId="3688450085" sldId="324"/>
            <ac:picMk id="9" creationId="{CFF5C931-DD5B-2540-6F51-D21BB07ECC6F}"/>
          </ac:picMkLst>
        </pc:picChg>
        <pc:picChg chg="add del mod">
          <ac:chgData name="Patrick DELABORDE" userId="ce7802e3ec4542a8" providerId="LiveId" clId="{4CB88F4A-2891-4C24-AA58-25693C1979F3}" dt="2022-11-05T20:48:37.473" v="1655" actId="478"/>
          <ac:picMkLst>
            <pc:docMk/>
            <pc:sldMk cId="3688450085" sldId="324"/>
            <ac:picMk id="10" creationId="{0AA1AD30-FE29-CD6F-5DDB-40783B6DDC03}"/>
          </ac:picMkLst>
        </pc:picChg>
        <pc:picChg chg="add mod">
          <ac:chgData name="Patrick DELABORDE" userId="ce7802e3ec4542a8" providerId="LiveId" clId="{4CB88F4A-2891-4C24-AA58-25693C1979F3}" dt="2022-11-05T20:49:44.602" v="1668" actId="1076"/>
          <ac:picMkLst>
            <pc:docMk/>
            <pc:sldMk cId="3688450085" sldId="324"/>
            <ac:picMk id="12" creationId="{759D63A6-DC71-17E4-6C9B-C2430C1FC10C}"/>
          </ac:picMkLst>
        </pc:picChg>
        <pc:picChg chg="add mod">
          <ac:chgData name="Patrick DELABORDE" userId="ce7802e3ec4542a8" providerId="LiveId" clId="{4CB88F4A-2891-4C24-AA58-25693C1979F3}" dt="2022-11-05T20:59:16.604" v="1840" actId="1038"/>
          <ac:picMkLst>
            <pc:docMk/>
            <pc:sldMk cId="3688450085" sldId="324"/>
            <ac:picMk id="14" creationId="{29ED0282-98A8-665A-E54E-24BFA8A5FEF8}"/>
          </ac:picMkLst>
        </pc:picChg>
        <pc:picChg chg="del">
          <ac:chgData name="Patrick DELABORDE" userId="ce7802e3ec4542a8" providerId="LiveId" clId="{4CB88F4A-2891-4C24-AA58-25693C1979F3}" dt="2022-11-05T19:59:55.586" v="1521" actId="478"/>
          <ac:picMkLst>
            <pc:docMk/>
            <pc:sldMk cId="3688450085" sldId="324"/>
            <ac:picMk id="15" creationId="{562B1F8F-FFEF-472F-6B1B-222B80750208}"/>
          </ac:picMkLst>
        </pc:picChg>
        <pc:picChg chg="del">
          <ac:chgData name="Patrick DELABORDE" userId="ce7802e3ec4542a8" providerId="LiveId" clId="{4CB88F4A-2891-4C24-AA58-25693C1979F3}" dt="2022-11-05T19:59:58.046" v="1522" actId="478"/>
          <ac:picMkLst>
            <pc:docMk/>
            <pc:sldMk cId="3688450085" sldId="324"/>
            <ac:picMk id="16" creationId="{2F7E2779-92D6-2FDE-7472-8979954E5878}"/>
          </ac:picMkLst>
        </pc:picChg>
        <pc:picChg chg="mod">
          <ac:chgData name="Patrick DELABORDE" userId="ce7802e3ec4542a8" providerId="LiveId" clId="{4CB88F4A-2891-4C24-AA58-25693C1979F3}" dt="2022-11-05T21:12:31.688" v="2074" actId="1076"/>
          <ac:picMkLst>
            <pc:docMk/>
            <pc:sldMk cId="3688450085" sldId="324"/>
            <ac:picMk id="17" creationId="{811704D5-C0B5-E639-422F-E0F64453AC97}"/>
          </ac:picMkLst>
        </pc:picChg>
        <pc:picChg chg="add mod">
          <ac:chgData name="Patrick DELABORDE" userId="ce7802e3ec4542a8" providerId="LiveId" clId="{4CB88F4A-2891-4C24-AA58-25693C1979F3}" dt="2022-11-05T20:57:34.751" v="1757" actId="1076"/>
          <ac:picMkLst>
            <pc:docMk/>
            <pc:sldMk cId="3688450085" sldId="324"/>
            <ac:picMk id="20" creationId="{8761B302-7A09-76B0-BC96-D8770F54C3A6}"/>
          </ac:picMkLst>
        </pc:picChg>
        <pc:picChg chg="add mod">
          <ac:chgData name="Patrick DELABORDE" userId="ce7802e3ec4542a8" providerId="LiveId" clId="{4CB88F4A-2891-4C24-AA58-25693C1979F3}" dt="2022-11-05T20:09:16.777" v="1539" actId="1076"/>
          <ac:picMkLst>
            <pc:docMk/>
            <pc:sldMk cId="3688450085" sldId="324"/>
            <ac:picMk id="21" creationId="{D5A77743-2ACB-3A1E-9E35-D8037A8289AB}"/>
          </ac:picMkLst>
        </pc:picChg>
        <pc:picChg chg="add del mod">
          <ac:chgData name="Patrick DELABORDE" userId="ce7802e3ec4542a8" providerId="LiveId" clId="{4CB88F4A-2891-4C24-AA58-25693C1979F3}" dt="2022-11-05T20:52:37.601" v="1686" actId="478"/>
          <ac:picMkLst>
            <pc:docMk/>
            <pc:sldMk cId="3688450085" sldId="324"/>
            <ac:picMk id="23" creationId="{507E0319-C705-CC33-4EE9-2769DEBD5608}"/>
          </ac:picMkLst>
        </pc:picChg>
        <pc:picChg chg="add mod">
          <ac:chgData name="Patrick DELABORDE" userId="ce7802e3ec4542a8" providerId="LiveId" clId="{4CB88F4A-2891-4C24-AA58-25693C1979F3}" dt="2022-11-05T20:48:42.260" v="1656" actId="1076"/>
          <ac:picMkLst>
            <pc:docMk/>
            <pc:sldMk cId="3688450085" sldId="324"/>
            <ac:picMk id="25" creationId="{AEC56023-E4CF-EADB-84A2-F685260E1912}"/>
          </ac:picMkLst>
        </pc:picChg>
        <pc:picChg chg="add mod">
          <ac:chgData name="Patrick DELABORDE" userId="ce7802e3ec4542a8" providerId="LiveId" clId="{4CB88F4A-2891-4C24-AA58-25693C1979F3}" dt="2022-11-05T20:52:06.453" v="1680" actId="1076"/>
          <ac:picMkLst>
            <pc:docMk/>
            <pc:sldMk cId="3688450085" sldId="324"/>
            <ac:picMk id="26" creationId="{046B4496-904C-C99E-4835-2873923631F6}"/>
          </ac:picMkLst>
        </pc:picChg>
        <pc:picChg chg="add mod">
          <ac:chgData name="Patrick DELABORDE" userId="ce7802e3ec4542a8" providerId="LiveId" clId="{4CB88F4A-2891-4C24-AA58-25693C1979F3}" dt="2022-11-05T20:51:24.637" v="1675" actId="1076"/>
          <ac:picMkLst>
            <pc:docMk/>
            <pc:sldMk cId="3688450085" sldId="324"/>
            <ac:picMk id="27" creationId="{A7C5C960-D4DD-5A8E-3FE8-1D9CA909AE7B}"/>
          </ac:picMkLst>
        </pc:picChg>
        <pc:picChg chg="add mod">
          <ac:chgData name="Patrick DELABORDE" userId="ce7802e3ec4542a8" providerId="LiveId" clId="{4CB88F4A-2891-4C24-AA58-25693C1979F3}" dt="2022-11-05T20:52:19.971" v="1683" actId="14100"/>
          <ac:picMkLst>
            <pc:docMk/>
            <pc:sldMk cId="3688450085" sldId="324"/>
            <ac:picMk id="28" creationId="{9DC70F31-9E9D-F51A-64FE-6F0EA8BFA71F}"/>
          </ac:picMkLst>
        </pc:picChg>
        <pc:picChg chg="add mod">
          <ac:chgData name="Patrick DELABORDE" userId="ce7802e3ec4542a8" providerId="LiveId" clId="{4CB88F4A-2891-4C24-AA58-25693C1979F3}" dt="2022-11-05T20:58:42.395" v="1788" actId="1038"/>
          <ac:picMkLst>
            <pc:docMk/>
            <pc:sldMk cId="3688450085" sldId="324"/>
            <ac:picMk id="30" creationId="{0C2B7617-0534-A5E9-02F4-57E10F720382}"/>
          </ac:picMkLst>
        </pc:picChg>
        <pc:picChg chg="add mod">
          <ac:chgData name="Patrick DELABORDE" userId="ce7802e3ec4542a8" providerId="LiveId" clId="{4CB88F4A-2891-4C24-AA58-25693C1979F3}" dt="2022-11-05T21:10:10.942" v="1985" actId="1076"/>
          <ac:picMkLst>
            <pc:docMk/>
            <pc:sldMk cId="3688450085" sldId="324"/>
            <ac:picMk id="39" creationId="{18E30846-2628-8EDE-7ABD-ECFD3D14AF09}"/>
          </ac:picMkLst>
        </pc:picChg>
      </pc:sldChg>
      <pc:sldChg chg="del">
        <pc:chgData name="Patrick DELABORDE" userId="ce7802e3ec4542a8" providerId="LiveId" clId="{4CB88F4A-2891-4C24-AA58-25693C1979F3}" dt="2022-11-03T15:23:33.026" v="1122" actId="47"/>
        <pc:sldMkLst>
          <pc:docMk/>
          <pc:sldMk cId="1227470660" sldId="325"/>
        </pc:sldMkLst>
      </pc:sldChg>
      <pc:sldChg chg="addSp modSp new del mod">
        <pc:chgData name="Patrick DELABORDE" userId="ce7802e3ec4542a8" providerId="LiveId" clId="{4CB88F4A-2891-4C24-AA58-25693C1979F3}" dt="2022-11-04T16:55:18.270" v="1494" actId="47"/>
        <pc:sldMkLst>
          <pc:docMk/>
          <pc:sldMk cId="3517887353" sldId="325"/>
        </pc:sldMkLst>
        <pc:picChg chg="add mod">
          <ac:chgData name="Patrick DELABORDE" userId="ce7802e3ec4542a8" providerId="LiveId" clId="{4CB88F4A-2891-4C24-AA58-25693C1979F3}" dt="2022-11-04T16:48:06.760" v="1331" actId="1076"/>
          <ac:picMkLst>
            <pc:docMk/>
            <pc:sldMk cId="3517887353" sldId="325"/>
            <ac:picMk id="6" creationId="{8DE35F51-8BF8-5EA6-9BEE-65FE74C42AE0}"/>
          </ac:picMkLst>
        </pc:picChg>
      </pc:sldChg>
      <pc:sldChg chg="del">
        <pc:chgData name="Patrick DELABORDE" userId="ce7802e3ec4542a8" providerId="LiveId" clId="{4CB88F4A-2891-4C24-AA58-25693C1979F3}" dt="2022-11-03T15:22:26.257" v="1121" actId="47"/>
        <pc:sldMkLst>
          <pc:docMk/>
          <pc:sldMk cId="3037681647" sldId="326"/>
        </pc:sldMkLst>
      </pc:sldChg>
      <pc:sldChg chg="addSp delSp modSp add mod">
        <pc:chgData name="Patrick DELABORDE" userId="ce7802e3ec4542a8" providerId="LiveId" clId="{4CB88F4A-2891-4C24-AA58-25693C1979F3}" dt="2022-11-07T15:05:14.367" v="3366" actId="207"/>
        <pc:sldMkLst>
          <pc:docMk/>
          <pc:sldMk cId="4122645433" sldId="326"/>
        </pc:sldMkLst>
        <pc:spChg chg="mod">
          <ac:chgData name="Patrick DELABORDE" userId="ce7802e3ec4542a8" providerId="LiveId" clId="{4CB88F4A-2891-4C24-AA58-25693C1979F3}" dt="2022-11-07T15:05:14.367" v="3366" actId="207"/>
          <ac:spMkLst>
            <pc:docMk/>
            <pc:sldMk cId="4122645433" sldId="326"/>
            <ac:spMk id="2" creationId="{FC0E6EF9-3A88-3D3E-D693-210FE95FA353}"/>
          </ac:spMkLst>
        </pc:spChg>
        <pc:spChg chg="add del mod">
          <ac:chgData name="Patrick DELABORDE" userId="ce7802e3ec4542a8" providerId="LiveId" clId="{4CB88F4A-2891-4C24-AA58-25693C1979F3}" dt="2022-11-07T13:59:56.833" v="2824"/>
          <ac:spMkLst>
            <pc:docMk/>
            <pc:sldMk cId="4122645433" sldId="326"/>
            <ac:spMk id="3" creationId="{D588F9DE-919E-A311-F6AC-FB831FDB05C3}"/>
          </ac:spMkLst>
        </pc:spChg>
        <pc:spChg chg="add mod">
          <ac:chgData name="Patrick DELABORDE" userId="ce7802e3ec4542a8" providerId="LiveId" clId="{4CB88F4A-2891-4C24-AA58-25693C1979F3}" dt="2022-11-05T21:49:54.968" v="2533" actId="1036"/>
          <ac:spMkLst>
            <pc:docMk/>
            <pc:sldMk cId="4122645433" sldId="326"/>
            <ac:spMk id="7" creationId="{79FD000D-AC0E-DE25-DA1E-C9A54DEFEBE5}"/>
          </ac:spMkLst>
        </pc:spChg>
        <pc:spChg chg="add mod">
          <ac:chgData name="Patrick DELABORDE" userId="ce7802e3ec4542a8" providerId="LiveId" clId="{4CB88F4A-2891-4C24-AA58-25693C1979F3}" dt="2022-11-05T21:31:55.621" v="2265" actId="1076"/>
          <ac:spMkLst>
            <pc:docMk/>
            <pc:sldMk cId="4122645433" sldId="326"/>
            <ac:spMk id="8" creationId="{B37A6498-5830-D737-6400-6966406D4958}"/>
          </ac:spMkLst>
        </pc:spChg>
        <pc:spChg chg="add mod">
          <ac:chgData name="Patrick DELABORDE" userId="ce7802e3ec4542a8" providerId="LiveId" clId="{4CB88F4A-2891-4C24-AA58-25693C1979F3}" dt="2022-11-07T14:01:04.991" v="2888" actId="1076"/>
          <ac:spMkLst>
            <pc:docMk/>
            <pc:sldMk cId="4122645433" sldId="326"/>
            <ac:spMk id="9" creationId="{07B71375-F11A-395F-9A23-75C78F43A71E}"/>
          </ac:spMkLst>
        </pc:spChg>
        <pc:spChg chg="add del">
          <ac:chgData name="Patrick DELABORDE" userId="ce7802e3ec4542a8" providerId="LiveId" clId="{4CB88F4A-2891-4C24-AA58-25693C1979F3}" dt="2022-11-05T21:30:20.120" v="2261" actId="478"/>
          <ac:spMkLst>
            <pc:docMk/>
            <pc:sldMk cId="4122645433" sldId="326"/>
            <ac:spMk id="9" creationId="{69F3DB11-B551-43A3-C1F3-F1EE856E80E0}"/>
          </ac:spMkLst>
        </pc:spChg>
        <pc:spChg chg="add mod">
          <ac:chgData name="Patrick DELABORDE" userId="ce7802e3ec4542a8" providerId="LiveId" clId="{4CB88F4A-2891-4C24-AA58-25693C1979F3}" dt="2022-11-07T14:06:34.646" v="2928" actId="1076"/>
          <ac:spMkLst>
            <pc:docMk/>
            <pc:sldMk cId="4122645433" sldId="326"/>
            <ac:spMk id="15" creationId="{710FE4FE-E585-F4A4-B098-A21E1AD7EBBB}"/>
          </ac:spMkLst>
        </pc:spChg>
        <pc:spChg chg="add mod">
          <ac:chgData name="Patrick DELABORDE" userId="ce7802e3ec4542a8" providerId="LiveId" clId="{4CB88F4A-2891-4C24-AA58-25693C1979F3}" dt="2022-11-05T21:55:04.747" v="2642" actId="114"/>
          <ac:spMkLst>
            <pc:docMk/>
            <pc:sldMk cId="4122645433" sldId="326"/>
            <ac:spMk id="17" creationId="{FC7C5910-676A-D090-F878-00DD3A59C292}"/>
          </ac:spMkLst>
        </pc:spChg>
        <pc:spChg chg="mod">
          <ac:chgData name="Patrick DELABORDE" userId="ce7802e3ec4542a8" providerId="LiveId" clId="{4CB88F4A-2891-4C24-AA58-25693C1979F3}" dt="2022-11-07T14:03:20.513" v="2919" actId="20577"/>
          <ac:spMkLst>
            <pc:docMk/>
            <pc:sldMk cId="4122645433" sldId="326"/>
            <ac:spMk id="18" creationId="{D166A7BA-8E44-0D5C-4903-420B196C3DA9}"/>
          </ac:spMkLst>
        </pc:spChg>
        <pc:spChg chg="add mod">
          <ac:chgData name="Patrick DELABORDE" userId="ce7802e3ec4542a8" providerId="LiveId" clId="{4CB88F4A-2891-4C24-AA58-25693C1979F3}" dt="2022-11-05T21:49:54.968" v="2533" actId="1036"/>
          <ac:spMkLst>
            <pc:docMk/>
            <pc:sldMk cId="4122645433" sldId="326"/>
            <ac:spMk id="19" creationId="{98176EC8-9816-D6C2-594C-D76C68F3081A}"/>
          </ac:spMkLst>
        </pc:spChg>
        <pc:spChg chg="add mod">
          <ac:chgData name="Patrick DELABORDE" userId="ce7802e3ec4542a8" providerId="LiveId" clId="{4CB88F4A-2891-4C24-AA58-25693C1979F3}" dt="2022-11-05T21:40:19.874" v="2364" actId="20577"/>
          <ac:spMkLst>
            <pc:docMk/>
            <pc:sldMk cId="4122645433" sldId="326"/>
            <ac:spMk id="20" creationId="{5734C97A-F249-FF73-4C3C-9CC2EFC80A33}"/>
          </ac:spMkLst>
        </pc:spChg>
        <pc:spChg chg="add mod">
          <ac:chgData name="Patrick DELABORDE" userId="ce7802e3ec4542a8" providerId="LiveId" clId="{4CB88F4A-2891-4C24-AA58-25693C1979F3}" dt="2022-11-05T21:51:43.922" v="2598" actId="692"/>
          <ac:spMkLst>
            <pc:docMk/>
            <pc:sldMk cId="4122645433" sldId="326"/>
            <ac:spMk id="21" creationId="{8C936083-2CDA-A75D-FBC9-9F9CBAA050B7}"/>
          </ac:spMkLst>
        </pc:spChg>
        <pc:spChg chg="add mod">
          <ac:chgData name="Patrick DELABORDE" userId="ce7802e3ec4542a8" providerId="LiveId" clId="{4CB88F4A-2891-4C24-AA58-25693C1979F3}" dt="2022-11-05T21:53:34.494" v="2610" actId="14100"/>
          <ac:spMkLst>
            <pc:docMk/>
            <pc:sldMk cId="4122645433" sldId="326"/>
            <ac:spMk id="23" creationId="{D80AF2D4-26B1-65F3-22FA-546A9D8BB0B0}"/>
          </ac:spMkLst>
        </pc:spChg>
        <pc:spChg chg="add mod">
          <ac:chgData name="Patrick DELABORDE" userId="ce7802e3ec4542a8" providerId="LiveId" clId="{4CB88F4A-2891-4C24-AA58-25693C1979F3}" dt="2022-11-05T21:54:27.425" v="2618" actId="1076"/>
          <ac:spMkLst>
            <pc:docMk/>
            <pc:sldMk cId="4122645433" sldId="326"/>
            <ac:spMk id="24" creationId="{9073D618-7A0C-F084-1EF7-B8A4A753F979}"/>
          </ac:spMkLst>
        </pc:spChg>
        <pc:picChg chg="add mod">
          <ac:chgData name="Patrick DELABORDE" userId="ce7802e3ec4542a8" providerId="LiveId" clId="{4CB88F4A-2891-4C24-AA58-25693C1979F3}" dt="2022-11-05T21:54:05.888" v="2614" actId="1076"/>
          <ac:picMkLst>
            <pc:docMk/>
            <pc:sldMk cId="4122645433" sldId="326"/>
            <ac:picMk id="6" creationId="{372F6F52-471A-1255-E29B-CBC93E35B8A9}"/>
          </ac:picMkLst>
        </pc:picChg>
        <pc:picChg chg="add mod">
          <ac:chgData name="Patrick DELABORDE" userId="ce7802e3ec4542a8" providerId="LiveId" clId="{4CB88F4A-2891-4C24-AA58-25693C1979F3}" dt="2022-11-07T13:59:55.030" v="2822" actId="1076"/>
          <ac:picMkLst>
            <pc:docMk/>
            <pc:sldMk cId="4122645433" sldId="326"/>
            <ac:picMk id="10" creationId="{04D0353F-7D31-3F2C-3366-88D35B20D90A}"/>
          </ac:picMkLst>
        </pc:picChg>
        <pc:picChg chg="add mod">
          <ac:chgData name="Patrick DELABORDE" userId="ce7802e3ec4542a8" providerId="LiveId" clId="{4CB88F4A-2891-4C24-AA58-25693C1979F3}" dt="2022-11-05T21:38:10.542" v="2328" actId="14100"/>
          <ac:picMkLst>
            <pc:docMk/>
            <pc:sldMk cId="4122645433" sldId="326"/>
            <ac:picMk id="12" creationId="{BE5EFA77-C5F2-9D67-5388-2E6A14FA9EB1}"/>
          </ac:picMkLst>
        </pc:picChg>
        <pc:picChg chg="add mod">
          <ac:chgData name="Patrick DELABORDE" userId="ce7802e3ec4542a8" providerId="LiveId" clId="{4CB88F4A-2891-4C24-AA58-25693C1979F3}" dt="2022-11-05T21:36:05.520" v="2277" actId="1076"/>
          <ac:picMkLst>
            <pc:docMk/>
            <pc:sldMk cId="4122645433" sldId="326"/>
            <ac:picMk id="14" creationId="{20464E25-7CE2-1D7C-3EFF-51396E61ED80}"/>
          </ac:picMkLst>
        </pc:picChg>
        <pc:picChg chg="del">
          <ac:chgData name="Patrick DELABORDE" userId="ce7802e3ec4542a8" providerId="LiveId" clId="{4CB88F4A-2891-4C24-AA58-25693C1979F3}" dt="2022-11-04T16:55:02.009" v="1491" actId="478"/>
          <ac:picMkLst>
            <pc:docMk/>
            <pc:sldMk cId="4122645433" sldId="326"/>
            <ac:picMk id="15" creationId="{562B1F8F-FFEF-472F-6B1B-222B80750208}"/>
          </ac:picMkLst>
        </pc:picChg>
        <pc:picChg chg="del">
          <ac:chgData name="Patrick DELABORDE" userId="ce7802e3ec4542a8" providerId="LiveId" clId="{4CB88F4A-2891-4C24-AA58-25693C1979F3}" dt="2022-11-04T16:55:04.115" v="1492" actId="478"/>
          <ac:picMkLst>
            <pc:docMk/>
            <pc:sldMk cId="4122645433" sldId="326"/>
            <ac:picMk id="16" creationId="{2F7E2779-92D6-2FDE-7472-8979954E5878}"/>
          </ac:picMkLst>
        </pc:picChg>
        <pc:picChg chg="add del mod">
          <ac:chgData name="Patrick DELABORDE" userId="ce7802e3ec4542a8" providerId="LiveId" clId="{4CB88F4A-2891-4C24-AA58-25693C1979F3}" dt="2022-11-05T21:37:11.445" v="2307" actId="478"/>
          <ac:picMkLst>
            <pc:docMk/>
            <pc:sldMk cId="4122645433" sldId="326"/>
            <ac:picMk id="16" creationId="{99E7A939-1284-A0DF-EF65-E2E549E76538}"/>
          </ac:picMkLst>
        </pc:picChg>
        <pc:picChg chg="del">
          <ac:chgData name="Patrick DELABORDE" userId="ce7802e3ec4542a8" providerId="LiveId" clId="{4CB88F4A-2891-4C24-AA58-25693C1979F3}" dt="2022-11-04T16:55:06.490" v="1493" actId="478"/>
          <ac:picMkLst>
            <pc:docMk/>
            <pc:sldMk cId="4122645433" sldId="326"/>
            <ac:picMk id="17" creationId="{811704D5-C0B5-E639-422F-E0F64453AC97}"/>
          </ac:picMkLst>
        </pc:picChg>
        <pc:picChg chg="del">
          <ac:chgData name="Patrick DELABORDE" userId="ce7802e3ec4542a8" providerId="LiveId" clId="{4CB88F4A-2891-4C24-AA58-25693C1979F3}" dt="2022-11-04T16:54:53.697" v="1490" actId="478"/>
          <ac:picMkLst>
            <pc:docMk/>
            <pc:sldMk cId="4122645433" sldId="326"/>
            <ac:picMk id="21" creationId="{D5A77743-2ACB-3A1E-9E35-D8037A8289AB}"/>
          </ac:picMkLst>
        </pc:picChg>
        <pc:picChg chg="add mod">
          <ac:chgData name="Patrick DELABORDE" userId="ce7802e3ec4542a8" providerId="LiveId" clId="{4CB88F4A-2891-4C24-AA58-25693C1979F3}" dt="2022-11-05T21:52:34.345" v="2603" actId="14100"/>
          <ac:picMkLst>
            <pc:docMk/>
            <pc:sldMk cId="4122645433" sldId="326"/>
            <ac:picMk id="22" creationId="{3386FD99-2F9B-8992-5664-3E133A3B3BD4}"/>
          </ac:picMkLst>
        </pc:picChg>
      </pc:sldChg>
      <pc:sldChg chg="del">
        <pc:chgData name="Patrick DELABORDE" userId="ce7802e3ec4542a8" providerId="LiveId" clId="{4CB88F4A-2891-4C24-AA58-25693C1979F3}" dt="2022-11-03T15:23:33.026" v="1122" actId="47"/>
        <pc:sldMkLst>
          <pc:docMk/>
          <pc:sldMk cId="446111008" sldId="327"/>
        </pc:sldMkLst>
      </pc:sldChg>
      <pc:sldChg chg="addSp delSp modSp add mod">
        <pc:chgData name="Patrick DELABORDE" userId="ce7802e3ec4542a8" providerId="LiveId" clId="{4CB88F4A-2891-4C24-AA58-25693C1979F3}" dt="2022-11-07T15:29:05.407" v="3413" actId="20577"/>
        <pc:sldMkLst>
          <pc:docMk/>
          <pc:sldMk cId="2335535812" sldId="327"/>
        </pc:sldMkLst>
        <pc:spChg chg="mod">
          <ac:chgData name="Patrick DELABORDE" userId="ce7802e3ec4542a8" providerId="LiveId" clId="{4CB88F4A-2891-4C24-AA58-25693C1979F3}" dt="2022-11-07T15:29:05.407" v="3413" actId="20577"/>
          <ac:spMkLst>
            <pc:docMk/>
            <pc:sldMk cId="2335535812" sldId="327"/>
            <ac:spMk id="2" creationId="{FC0E6EF9-3A88-3D3E-D693-210FE95FA353}"/>
          </ac:spMkLst>
        </pc:spChg>
        <pc:spChg chg="del">
          <ac:chgData name="Patrick DELABORDE" userId="ce7802e3ec4542a8" providerId="LiveId" clId="{4CB88F4A-2891-4C24-AA58-25693C1979F3}" dt="2022-11-05T21:41:03.357" v="2366" actId="478"/>
          <ac:spMkLst>
            <pc:docMk/>
            <pc:sldMk cId="2335535812" sldId="327"/>
            <ac:spMk id="7" creationId="{79FD000D-AC0E-DE25-DA1E-C9A54DEFEBE5}"/>
          </ac:spMkLst>
        </pc:spChg>
        <pc:spChg chg="del">
          <ac:chgData name="Patrick DELABORDE" userId="ce7802e3ec4542a8" providerId="LiveId" clId="{4CB88F4A-2891-4C24-AA58-25693C1979F3}" dt="2022-11-05T21:41:03.357" v="2366" actId="478"/>
          <ac:spMkLst>
            <pc:docMk/>
            <pc:sldMk cId="2335535812" sldId="327"/>
            <ac:spMk id="8" creationId="{B37A6498-5830-D737-6400-6966406D4958}"/>
          </ac:spMkLst>
        </pc:spChg>
        <pc:spChg chg="del">
          <ac:chgData name="Patrick DELABORDE" userId="ce7802e3ec4542a8" providerId="LiveId" clId="{4CB88F4A-2891-4C24-AA58-25693C1979F3}" dt="2022-11-05T21:41:03.357" v="2366" actId="478"/>
          <ac:spMkLst>
            <pc:docMk/>
            <pc:sldMk cId="2335535812" sldId="327"/>
            <ac:spMk id="15" creationId="{710FE4FE-E585-F4A4-B098-A21E1AD7EBBB}"/>
          </ac:spMkLst>
        </pc:spChg>
        <pc:spChg chg="del">
          <ac:chgData name="Patrick DELABORDE" userId="ce7802e3ec4542a8" providerId="LiveId" clId="{4CB88F4A-2891-4C24-AA58-25693C1979F3}" dt="2022-11-05T21:41:03.357" v="2366" actId="478"/>
          <ac:spMkLst>
            <pc:docMk/>
            <pc:sldMk cId="2335535812" sldId="327"/>
            <ac:spMk id="17" creationId="{FC7C5910-676A-D090-F878-00DD3A59C292}"/>
          </ac:spMkLst>
        </pc:spChg>
        <pc:spChg chg="mod">
          <ac:chgData name="Patrick DELABORDE" userId="ce7802e3ec4542a8" providerId="LiveId" clId="{4CB88F4A-2891-4C24-AA58-25693C1979F3}" dt="2022-11-07T14:48:19.263" v="3332" actId="1076"/>
          <ac:spMkLst>
            <pc:docMk/>
            <pc:sldMk cId="2335535812" sldId="327"/>
            <ac:spMk id="18" creationId="{D166A7BA-8E44-0D5C-4903-420B196C3DA9}"/>
          </ac:spMkLst>
        </pc:spChg>
        <pc:spChg chg="del">
          <ac:chgData name="Patrick DELABORDE" userId="ce7802e3ec4542a8" providerId="LiveId" clId="{4CB88F4A-2891-4C24-AA58-25693C1979F3}" dt="2022-11-05T21:41:03.357" v="2366" actId="478"/>
          <ac:spMkLst>
            <pc:docMk/>
            <pc:sldMk cId="2335535812" sldId="327"/>
            <ac:spMk id="19" creationId="{98176EC8-9816-D6C2-594C-D76C68F3081A}"/>
          </ac:spMkLst>
        </pc:spChg>
        <pc:spChg chg="del">
          <ac:chgData name="Patrick DELABORDE" userId="ce7802e3ec4542a8" providerId="LiveId" clId="{4CB88F4A-2891-4C24-AA58-25693C1979F3}" dt="2022-11-05T21:41:03.357" v="2366" actId="478"/>
          <ac:spMkLst>
            <pc:docMk/>
            <pc:sldMk cId="2335535812" sldId="327"/>
            <ac:spMk id="20" creationId="{5734C97A-F249-FF73-4C3C-9CC2EFC80A33}"/>
          </ac:spMkLst>
        </pc:spChg>
        <pc:picChg chg="add mod">
          <ac:chgData name="Patrick DELABORDE" userId="ce7802e3ec4542a8" providerId="LiveId" clId="{4CB88F4A-2891-4C24-AA58-25693C1979F3}" dt="2022-11-07T14:48:23.500" v="3333" actId="1076"/>
          <ac:picMkLst>
            <pc:docMk/>
            <pc:sldMk cId="2335535812" sldId="327"/>
            <ac:picMk id="3" creationId="{3D8EDFAF-1698-89A9-45C8-F23F30F4B083}"/>
          </ac:picMkLst>
        </pc:picChg>
        <pc:picChg chg="add mod">
          <ac:chgData name="Patrick DELABORDE" userId="ce7802e3ec4542a8" providerId="LiveId" clId="{4CB88F4A-2891-4C24-AA58-25693C1979F3}" dt="2022-11-07T14:52:02.006" v="3353" actId="1076"/>
          <ac:picMkLst>
            <pc:docMk/>
            <pc:sldMk cId="2335535812" sldId="327"/>
            <ac:picMk id="6" creationId="{01FCA417-25E7-8752-5D27-3916425530E8}"/>
          </ac:picMkLst>
        </pc:picChg>
        <pc:picChg chg="del">
          <ac:chgData name="Patrick DELABORDE" userId="ce7802e3ec4542a8" providerId="LiveId" clId="{4CB88F4A-2891-4C24-AA58-25693C1979F3}" dt="2022-11-05T21:41:03.357" v="2366" actId="478"/>
          <ac:picMkLst>
            <pc:docMk/>
            <pc:sldMk cId="2335535812" sldId="327"/>
            <ac:picMk id="6" creationId="{372F6F52-471A-1255-E29B-CBC93E35B8A9}"/>
          </ac:picMkLst>
        </pc:picChg>
        <pc:picChg chg="add mod">
          <ac:chgData name="Patrick DELABORDE" userId="ce7802e3ec4542a8" providerId="LiveId" clId="{4CB88F4A-2891-4C24-AA58-25693C1979F3}" dt="2022-11-07T14:49:15.789" v="3344" actId="1076"/>
          <ac:picMkLst>
            <pc:docMk/>
            <pc:sldMk cId="2335535812" sldId="327"/>
            <ac:picMk id="7" creationId="{B6932DE2-29A4-1789-E719-1CD4F0A8DED1}"/>
          </ac:picMkLst>
        </pc:picChg>
        <pc:picChg chg="add mod">
          <ac:chgData name="Patrick DELABORDE" userId="ce7802e3ec4542a8" providerId="LiveId" clId="{4CB88F4A-2891-4C24-AA58-25693C1979F3}" dt="2022-11-07T14:49:45.079" v="3349" actId="1076"/>
          <ac:picMkLst>
            <pc:docMk/>
            <pc:sldMk cId="2335535812" sldId="327"/>
            <ac:picMk id="8" creationId="{416BD170-C9E2-D260-F455-99E5098068D1}"/>
          </ac:picMkLst>
        </pc:picChg>
        <pc:picChg chg="del">
          <ac:chgData name="Patrick DELABORDE" userId="ce7802e3ec4542a8" providerId="LiveId" clId="{4CB88F4A-2891-4C24-AA58-25693C1979F3}" dt="2022-11-05T21:41:03.357" v="2366" actId="478"/>
          <ac:picMkLst>
            <pc:docMk/>
            <pc:sldMk cId="2335535812" sldId="327"/>
            <ac:picMk id="10" creationId="{04D0353F-7D31-3F2C-3366-88D35B20D90A}"/>
          </ac:picMkLst>
        </pc:picChg>
        <pc:picChg chg="add del mod">
          <ac:chgData name="Patrick DELABORDE" userId="ce7802e3ec4542a8" providerId="LiveId" clId="{4CB88F4A-2891-4C24-AA58-25693C1979F3}" dt="2022-11-07T14:58:42.052" v="3356" actId="478"/>
          <ac:picMkLst>
            <pc:docMk/>
            <pc:sldMk cId="2335535812" sldId="327"/>
            <ac:picMk id="10" creationId="{F56F1D90-CC1A-CEE8-44E0-00FF1882E60F}"/>
          </ac:picMkLst>
        </pc:picChg>
        <pc:picChg chg="add mod">
          <ac:chgData name="Patrick DELABORDE" userId="ce7802e3ec4542a8" providerId="LiveId" clId="{4CB88F4A-2891-4C24-AA58-25693C1979F3}" dt="2022-11-07T14:59:44.451" v="3361" actId="1076"/>
          <ac:picMkLst>
            <pc:docMk/>
            <pc:sldMk cId="2335535812" sldId="327"/>
            <ac:picMk id="12" creationId="{021CC809-2094-BCDA-7E64-FD96414DD9F3}"/>
          </ac:picMkLst>
        </pc:picChg>
        <pc:picChg chg="del">
          <ac:chgData name="Patrick DELABORDE" userId="ce7802e3ec4542a8" providerId="LiveId" clId="{4CB88F4A-2891-4C24-AA58-25693C1979F3}" dt="2022-11-05T21:43:43.015" v="2367" actId="478"/>
          <ac:picMkLst>
            <pc:docMk/>
            <pc:sldMk cId="2335535812" sldId="327"/>
            <ac:picMk id="12" creationId="{BE5EFA77-C5F2-9D67-5388-2E6A14FA9EB1}"/>
          </ac:picMkLst>
        </pc:picChg>
        <pc:picChg chg="del">
          <ac:chgData name="Patrick DELABORDE" userId="ce7802e3ec4542a8" providerId="LiveId" clId="{4CB88F4A-2891-4C24-AA58-25693C1979F3}" dt="2022-11-05T21:41:03.357" v="2366" actId="478"/>
          <ac:picMkLst>
            <pc:docMk/>
            <pc:sldMk cId="2335535812" sldId="327"/>
            <ac:picMk id="14" creationId="{20464E25-7CE2-1D7C-3EFF-51396E61ED80}"/>
          </ac:picMkLst>
        </pc:picChg>
      </pc:sldChg>
      <pc:sldChg chg="addSp delSp modSp new del mod ord">
        <pc:chgData name="Patrick DELABORDE" userId="ce7802e3ec4542a8" providerId="LiveId" clId="{4CB88F4A-2891-4C24-AA58-25693C1979F3}" dt="2022-11-07T15:00:53.609" v="3362" actId="47"/>
        <pc:sldMkLst>
          <pc:docMk/>
          <pc:sldMk cId="1371870457" sldId="328"/>
        </pc:sldMkLst>
        <pc:spChg chg="del">
          <ac:chgData name="Patrick DELABORDE" userId="ce7802e3ec4542a8" providerId="LiveId" clId="{4CB88F4A-2891-4C24-AA58-25693C1979F3}" dt="2022-11-07T14:14:24.905" v="3233"/>
          <ac:spMkLst>
            <pc:docMk/>
            <pc:sldMk cId="1371870457" sldId="328"/>
            <ac:spMk id="3" creationId="{EEFFDB82-0A86-E821-9EFE-D7E90FA9FB75}"/>
          </ac:spMkLst>
        </pc:spChg>
        <pc:spChg chg="add del mod">
          <ac:chgData name="Patrick DELABORDE" userId="ce7802e3ec4542a8" providerId="LiveId" clId="{4CB88F4A-2891-4C24-AA58-25693C1979F3}" dt="2022-11-07T14:25:19.311" v="3238" actId="478"/>
          <ac:spMkLst>
            <pc:docMk/>
            <pc:sldMk cId="1371870457" sldId="328"/>
            <ac:spMk id="8" creationId="{ECF74957-09FE-0370-A7CD-049473AA16D6}"/>
          </ac:spMkLst>
        </pc:spChg>
        <pc:picChg chg="add mod">
          <ac:chgData name="Patrick DELABORDE" userId="ce7802e3ec4542a8" providerId="LiveId" clId="{4CB88F4A-2891-4C24-AA58-25693C1979F3}" dt="2022-11-07T14:18:52.273" v="3235" actId="1076"/>
          <ac:picMkLst>
            <pc:docMk/>
            <pc:sldMk cId="1371870457" sldId="328"/>
            <ac:picMk id="7" creationId="{72ED2923-4F69-06BE-8D39-FD747BA9F853}"/>
          </ac:picMkLst>
        </pc:picChg>
        <pc:picChg chg="add mod">
          <ac:chgData name="Patrick DELABORDE" userId="ce7802e3ec4542a8" providerId="LiveId" clId="{4CB88F4A-2891-4C24-AA58-25693C1979F3}" dt="2022-11-07T14:38:00.011" v="3240" actId="1076"/>
          <ac:picMkLst>
            <pc:docMk/>
            <pc:sldMk cId="1371870457" sldId="328"/>
            <ac:picMk id="10" creationId="{4AD322D5-517E-D893-C29E-14DCB48B97D0}"/>
          </ac:picMkLst>
        </pc:picChg>
        <pc:picChg chg="add mod">
          <ac:chgData name="Patrick DELABORDE" userId="ce7802e3ec4542a8" providerId="LiveId" clId="{4CB88F4A-2891-4C24-AA58-25693C1979F3}" dt="2022-11-07T14:47:15.268" v="3321" actId="1076"/>
          <ac:picMkLst>
            <pc:docMk/>
            <pc:sldMk cId="1371870457" sldId="328"/>
            <ac:picMk id="12" creationId="{350DD2CE-0C57-664E-C5A5-D7669168749C}"/>
          </ac:picMkLst>
        </pc:picChg>
        <pc:picChg chg="add mod">
          <ac:chgData name="Patrick DELABORDE" userId="ce7802e3ec4542a8" providerId="LiveId" clId="{4CB88F4A-2891-4C24-AA58-25693C1979F3}" dt="2022-11-07T14:46:35.729" v="3313" actId="931"/>
          <ac:picMkLst>
            <pc:docMk/>
            <pc:sldMk cId="1371870457" sldId="328"/>
            <ac:picMk id="14" creationId="{B59C9FCB-DD64-18A8-6254-A577E0239C8F}"/>
          </ac:picMkLst>
        </pc:picChg>
        <pc:picChg chg="add mod">
          <ac:chgData name="Patrick DELABORDE" userId="ce7802e3ec4542a8" providerId="LiveId" clId="{4CB88F4A-2891-4C24-AA58-25693C1979F3}" dt="2022-11-07T14:48:34.517" v="3334" actId="1076"/>
          <ac:picMkLst>
            <pc:docMk/>
            <pc:sldMk cId="1371870457" sldId="328"/>
            <ac:picMk id="16" creationId="{EA252161-8713-3850-2E63-947B7BBD82DA}"/>
          </ac:picMkLst>
        </pc:picChg>
        <pc:picChg chg="add mod">
          <ac:chgData name="Patrick DELABORDE" userId="ce7802e3ec4542a8" providerId="LiveId" clId="{4CB88F4A-2891-4C24-AA58-25693C1979F3}" dt="2022-11-07T14:14:24.905" v="3233"/>
          <ac:picMkLst>
            <pc:docMk/>
            <pc:sldMk cId="1371870457" sldId="328"/>
            <ac:picMk id="1026" creationId="{BD26FE6F-7E3E-42CD-1087-14E59B466604}"/>
          </ac:picMkLst>
        </pc:picChg>
        <pc:picChg chg="add mod">
          <ac:chgData name="Patrick DELABORDE" userId="ce7802e3ec4542a8" providerId="LiveId" clId="{4CB88F4A-2891-4C24-AA58-25693C1979F3}" dt="2022-11-07T14:51:41.814" v="3351" actId="14100"/>
          <ac:picMkLst>
            <pc:docMk/>
            <pc:sldMk cId="1371870457" sldId="328"/>
            <ac:picMk id="1030" creationId="{2BE978C6-6D86-13FB-5E1F-41200B6ADDC1}"/>
          </ac:picMkLst>
        </pc:picChg>
      </pc:sldChg>
      <pc:sldChg chg="addSp delSp modSp add mod">
        <pc:chgData name="Patrick DELABORDE" userId="ce7802e3ec4542a8" providerId="LiveId" clId="{4CB88F4A-2891-4C24-AA58-25693C1979F3}" dt="2022-11-07T16:05:26.763" v="3636" actId="1076"/>
        <pc:sldMkLst>
          <pc:docMk/>
          <pc:sldMk cId="1731426455" sldId="328"/>
        </pc:sldMkLst>
        <pc:spChg chg="mod">
          <ac:chgData name="Patrick DELABORDE" userId="ce7802e3ec4542a8" providerId="LiveId" clId="{4CB88F4A-2891-4C24-AA58-25693C1979F3}" dt="2022-11-07T15:29:21.810" v="3425" actId="20577"/>
          <ac:spMkLst>
            <pc:docMk/>
            <pc:sldMk cId="1731426455" sldId="328"/>
            <ac:spMk id="2" creationId="{FC0E6EF9-3A88-3D3E-D693-210FE95FA353}"/>
          </ac:spMkLst>
        </pc:spChg>
        <pc:spChg chg="add mod">
          <ac:chgData name="Patrick DELABORDE" userId="ce7802e3ec4542a8" providerId="LiveId" clId="{4CB88F4A-2891-4C24-AA58-25693C1979F3}" dt="2022-11-07T15:59:02.591" v="3508" actId="15"/>
          <ac:spMkLst>
            <pc:docMk/>
            <pc:sldMk cId="1731426455" sldId="328"/>
            <ac:spMk id="9" creationId="{D610B2B3-CBC6-31DB-4F97-0C6420BB7754}"/>
          </ac:spMkLst>
        </pc:spChg>
        <pc:spChg chg="add mod">
          <ac:chgData name="Patrick DELABORDE" userId="ce7802e3ec4542a8" providerId="LiveId" clId="{4CB88F4A-2891-4C24-AA58-25693C1979F3}" dt="2022-11-07T16:05:26.763" v="3636" actId="1076"/>
          <ac:spMkLst>
            <pc:docMk/>
            <pc:sldMk cId="1731426455" sldId="328"/>
            <ac:spMk id="10" creationId="{438C0A6C-2CD9-802D-3610-BA02A349190F}"/>
          </ac:spMkLst>
        </pc:spChg>
        <pc:spChg chg="mod">
          <ac:chgData name="Patrick DELABORDE" userId="ce7802e3ec4542a8" providerId="LiveId" clId="{4CB88F4A-2891-4C24-AA58-25693C1979F3}" dt="2022-11-07T15:30:03.619" v="3435" actId="14100"/>
          <ac:spMkLst>
            <pc:docMk/>
            <pc:sldMk cId="1731426455" sldId="328"/>
            <ac:spMk id="18" creationId="{D166A7BA-8E44-0D5C-4903-420B196C3DA9}"/>
          </ac:spMkLst>
        </pc:spChg>
        <pc:picChg chg="del">
          <ac:chgData name="Patrick DELABORDE" userId="ce7802e3ec4542a8" providerId="LiveId" clId="{4CB88F4A-2891-4C24-AA58-25693C1979F3}" dt="2022-11-07T15:29:31.666" v="3426" actId="478"/>
          <ac:picMkLst>
            <pc:docMk/>
            <pc:sldMk cId="1731426455" sldId="328"/>
            <ac:picMk id="3" creationId="{3D8EDFAF-1698-89A9-45C8-F23F30F4B083}"/>
          </ac:picMkLst>
        </pc:picChg>
        <pc:picChg chg="del">
          <ac:chgData name="Patrick DELABORDE" userId="ce7802e3ec4542a8" providerId="LiveId" clId="{4CB88F4A-2891-4C24-AA58-25693C1979F3}" dt="2022-11-07T15:30:11.384" v="3437" actId="478"/>
          <ac:picMkLst>
            <pc:docMk/>
            <pc:sldMk cId="1731426455" sldId="328"/>
            <ac:picMk id="6" creationId="{01FCA417-25E7-8752-5D27-3916425530E8}"/>
          </ac:picMkLst>
        </pc:picChg>
        <pc:picChg chg="del">
          <ac:chgData name="Patrick DELABORDE" userId="ce7802e3ec4542a8" providerId="LiveId" clId="{4CB88F4A-2891-4C24-AA58-25693C1979F3}" dt="2022-11-07T15:30:09.015" v="3436" actId="478"/>
          <ac:picMkLst>
            <pc:docMk/>
            <pc:sldMk cId="1731426455" sldId="328"/>
            <ac:picMk id="7" creationId="{B6932DE2-29A4-1789-E719-1CD4F0A8DED1}"/>
          </ac:picMkLst>
        </pc:picChg>
        <pc:picChg chg="del">
          <ac:chgData name="Patrick DELABORDE" userId="ce7802e3ec4542a8" providerId="LiveId" clId="{4CB88F4A-2891-4C24-AA58-25693C1979F3}" dt="2022-11-07T15:30:14.704" v="3438" actId="478"/>
          <ac:picMkLst>
            <pc:docMk/>
            <pc:sldMk cId="1731426455" sldId="328"/>
            <ac:picMk id="8" creationId="{416BD170-C9E2-D260-F455-99E5098068D1}"/>
          </ac:picMkLst>
        </pc:picChg>
        <pc:picChg chg="del">
          <ac:chgData name="Patrick DELABORDE" userId="ce7802e3ec4542a8" providerId="LiveId" clId="{4CB88F4A-2891-4C24-AA58-25693C1979F3}" dt="2022-11-07T15:30:16.007" v="3439" actId="478"/>
          <ac:picMkLst>
            <pc:docMk/>
            <pc:sldMk cId="1731426455" sldId="328"/>
            <ac:picMk id="12" creationId="{021CC809-2094-BCDA-7E64-FD96414DD9F3}"/>
          </ac:picMkLst>
        </pc:picChg>
      </pc:sldChg>
      <pc:sldChg chg="del">
        <pc:chgData name="Patrick DELABORDE" userId="ce7802e3ec4542a8" providerId="LiveId" clId="{4CB88F4A-2891-4C24-AA58-25693C1979F3}" dt="2022-11-03T15:23:33.026" v="1122" actId="47"/>
        <pc:sldMkLst>
          <pc:docMk/>
          <pc:sldMk cId="2834604849" sldId="328"/>
        </pc:sldMkLst>
      </pc:sldChg>
      <pc:sldChg chg="del">
        <pc:chgData name="Patrick DELABORDE" userId="ce7802e3ec4542a8" providerId="LiveId" clId="{4CB88F4A-2891-4C24-AA58-25693C1979F3}" dt="2022-11-03T15:23:33.026" v="1122" actId="47"/>
        <pc:sldMkLst>
          <pc:docMk/>
          <pc:sldMk cId="3798635680" sldId="329"/>
        </pc:sldMkLst>
      </pc:sldChg>
      <pc:sldChg chg="del">
        <pc:chgData name="Patrick DELABORDE" userId="ce7802e3ec4542a8" providerId="LiveId" clId="{4CB88F4A-2891-4C24-AA58-25693C1979F3}" dt="2022-11-03T15:23:33.026" v="1122" actId="47"/>
        <pc:sldMkLst>
          <pc:docMk/>
          <pc:sldMk cId="1682507183" sldId="330"/>
        </pc:sldMkLst>
      </pc:sldChg>
      <pc:sldChg chg="del">
        <pc:chgData name="Patrick DELABORDE" userId="ce7802e3ec4542a8" providerId="LiveId" clId="{4CB88F4A-2891-4C24-AA58-25693C1979F3}" dt="2022-11-03T15:23:33.026" v="1122" actId="47"/>
        <pc:sldMkLst>
          <pc:docMk/>
          <pc:sldMk cId="533236365" sldId="331"/>
        </pc:sldMkLst>
      </pc:sldChg>
      <pc:sldChg chg="del">
        <pc:chgData name="Patrick DELABORDE" userId="ce7802e3ec4542a8" providerId="LiveId" clId="{4CB88F4A-2891-4C24-AA58-25693C1979F3}" dt="2022-11-03T15:23:33.026" v="1122" actId="47"/>
        <pc:sldMkLst>
          <pc:docMk/>
          <pc:sldMk cId="585824503" sldId="332"/>
        </pc:sldMkLst>
      </pc:sldChg>
      <pc:sldChg chg="del">
        <pc:chgData name="Patrick DELABORDE" userId="ce7802e3ec4542a8" providerId="LiveId" clId="{4CB88F4A-2891-4C24-AA58-25693C1979F3}" dt="2022-11-03T15:23:33.026" v="1122" actId="47"/>
        <pc:sldMkLst>
          <pc:docMk/>
          <pc:sldMk cId="4086243159" sldId="333"/>
        </pc:sldMkLst>
      </pc:sldChg>
      <pc:sldChg chg="del">
        <pc:chgData name="Patrick DELABORDE" userId="ce7802e3ec4542a8" providerId="LiveId" clId="{4CB88F4A-2891-4C24-AA58-25693C1979F3}" dt="2022-11-03T15:23:33.026" v="1122" actId="47"/>
        <pc:sldMkLst>
          <pc:docMk/>
          <pc:sldMk cId="3617855539" sldId="334"/>
        </pc:sldMkLst>
      </pc:sldChg>
      <pc:sldChg chg="del">
        <pc:chgData name="Patrick DELABORDE" userId="ce7802e3ec4542a8" providerId="LiveId" clId="{4CB88F4A-2891-4C24-AA58-25693C1979F3}" dt="2022-11-03T15:23:33.026" v="1122" actId="47"/>
        <pc:sldMkLst>
          <pc:docMk/>
          <pc:sldMk cId="3228829749" sldId="335"/>
        </pc:sldMkLst>
      </pc:sldChg>
      <pc:sldChg chg="del">
        <pc:chgData name="Patrick DELABORDE" userId="ce7802e3ec4542a8" providerId="LiveId" clId="{4CB88F4A-2891-4C24-AA58-25693C1979F3}" dt="2022-11-03T15:23:33.026" v="1122" actId="47"/>
        <pc:sldMkLst>
          <pc:docMk/>
          <pc:sldMk cId="598196623" sldId="336"/>
        </pc:sldMkLst>
      </pc:sldChg>
      <pc:sldChg chg="del">
        <pc:chgData name="Patrick DELABORDE" userId="ce7802e3ec4542a8" providerId="LiveId" clId="{4CB88F4A-2891-4C24-AA58-25693C1979F3}" dt="2022-11-03T15:23:33.026" v="1122" actId="47"/>
        <pc:sldMkLst>
          <pc:docMk/>
          <pc:sldMk cId="439898848" sldId="337"/>
        </pc:sldMkLst>
      </pc:sldChg>
      <pc:sldChg chg="del">
        <pc:chgData name="Patrick DELABORDE" userId="ce7802e3ec4542a8" providerId="LiveId" clId="{4CB88F4A-2891-4C24-AA58-25693C1979F3}" dt="2022-11-03T15:23:33.026" v="1122" actId="47"/>
        <pc:sldMkLst>
          <pc:docMk/>
          <pc:sldMk cId="2441841576" sldId="338"/>
        </pc:sldMkLst>
      </pc:sldChg>
      <pc:sldChg chg="del">
        <pc:chgData name="Patrick DELABORDE" userId="ce7802e3ec4542a8" providerId="LiveId" clId="{4CB88F4A-2891-4C24-AA58-25693C1979F3}" dt="2022-11-03T15:23:33.026" v="1122" actId="47"/>
        <pc:sldMkLst>
          <pc:docMk/>
          <pc:sldMk cId="581620264" sldId="339"/>
        </pc:sldMkLst>
      </pc:sldChg>
      <pc:sldChg chg="add del">
        <pc:chgData name="Patrick DELABORDE" userId="ce7802e3ec4542a8" providerId="LiveId" clId="{4CB88F4A-2891-4C24-AA58-25693C1979F3}" dt="2022-11-03T13:22:41.284" v="661" actId="47"/>
        <pc:sldMkLst>
          <pc:docMk/>
          <pc:sldMk cId="2245184684" sldId="340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56A9B6-2394-4956-9F50-EDACA94CE81B}" type="datetimeFigureOut">
              <a:rPr lang="fr-FR" smtClean="0"/>
              <a:t>07/11/2022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B3D1A4-64EC-4F4F-B2D0-CB032E21604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390436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B3D1A4-64EC-4F4F-B2D0-CB032E21604F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254350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Définir Superplasticité</a:t>
            </a:r>
          </a:p>
          <a:p>
            <a:r>
              <a:rPr lang="fr-FR" dirty="0"/>
              <a:t>Moteur aéronautique  en back up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B3D1A4-64EC-4F4F-B2D0-CB032E21604F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364120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Insister sur le taux de corroyage et le fait de casser les aiguilles pour affiner le grain.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B3D1A4-64EC-4F4F-B2D0-CB032E21604F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294977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Insister sur le taux de corroyage et le fait de casser les aiguilles pour affiner le grain.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B3D1A4-64EC-4F4F-B2D0-CB032E21604F}" type="slidenum">
              <a:rPr lang="fr-FR" smtClean="0"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017734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Insister sur le taux de corroyage et le fait de casser les aiguilles pour affiner le grain.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B3D1A4-64EC-4F4F-B2D0-CB032E21604F}" type="slidenum">
              <a:rPr lang="fr-FR" smtClean="0"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906749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Insister sur le taux de corroyage et le fait de casser les aiguilles pour affiner le grain.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B3D1A4-64EC-4F4F-B2D0-CB032E21604F}" type="slidenum">
              <a:rPr lang="fr-FR" smtClean="0"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176566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127450D-7153-35C0-86DE-99B120A03A2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AE33B953-6ED6-C3C5-3CE9-C09FA91D162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795E7817-7A71-EDBB-E7F4-A4A5F83F12D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6C52AB8-C9BE-4922-3DC6-05596B152A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90912" y="6361798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fr-FR"/>
              <a:t>Sofcot, Patrick DELABORD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AAD68033-153C-50F5-6A6D-B24CB96461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07040" y="6356350"/>
            <a:ext cx="746760" cy="365125"/>
          </a:xfrm>
          <a:prstGeom prst="rect">
            <a:avLst/>
          </a:prstGeom>
        </p:spPr>
        <p:txBody>
          <a:bodyPr/>
          <a:lstStyle/>
          <a:p>
            <a:fld id="{0F3C276D-B6F8-4D82-8FFC-8C58539E527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494095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1CA95DD-9134-9D2D-13CC-C1BAC47B85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411A8178-2819-DC36-6FAD-9083C6C1353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9EF4FA82-591F-9D92-7D27-01A4A8A85FC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E8444FD-CC36-61BA-A25C-5D86CDF2E9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90912" y="6361798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fr-FR"/>
              <a:t>Sofcot, Patrick DELABORD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51107AC7-DD83-4EC3-53EF-10EE92EC7B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07040" y="6356350"/>
            <a:ext cx="746760" cy="365125"/>
          </a:xfrm>
          <a:prstGeom prst="rect">
            <a:avLst/>
          </a:prstGeom>
        </p:spPr>
        <p:txBody>
          <a:bodyPr/>
          <a:lstStyle/>
          <a:p>
            <a:fld id="{0F3C276D-B6F8-4D82-8FFC-8C58539E527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607223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13E3DB79-8F0B-34F9-03C9-93A2999F178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4CA4E9FF-A39C-51D1-1501-3FF14E41919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B5366A8-5A04-E34A-665F-7A309EB8104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3FE8CC61-DA1E-4D09-988F-9A425BEA0C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90912" y="6361798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fr-FR"/>
              <a:t>Sofcot, Patrick DELABORD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5F5FFE6E-D5FD-EA2C-BD11-C08DBBBD32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07040" y="6356350"/>
            <a:ext cx="746760" cy="365125"/>
          </a:xfrm>
          <a:prstGeom prst="rect">
            <a:avLst/>
          </a:prstGeom>
        </p:spPr>
        <p:txBody>
          <a:bodyPr/>
          <a:lstStyle/>
          <a:p>
            <a:fld id="{0F3C276D-B6F8-4D82-8FFC-8C58539E527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855280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apositive de titr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9"/>
          <p:cNvSpPr>
            <a:spLocks/>
          </p:cNvSpPr>
          <p:nvPr/>
        </p:nvSpPr>
        <p:spPr bwMode="gray">
          <a:xfrm>
            <a:off x="0" y="3128575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9999" y="4402124"/>
            <a:ext cx="72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tx2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tx2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 dirty="0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Sofcot, Patrick DELABORDE</a:t>
            </a:r>
            <a:endParaRPr lang="fr-FR" dirty="0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11605846" y="6536954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719999" y="2657915"/>
            <a:ext cx="7200000" cy="1512168"/>
          </a:xfr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fr-FR" dirty="0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0504717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apositive de titr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9"/>
          <p:cNvSpPr>
            <a:spLocks/>
          </p:cNvSpPr>
          <p:nvPr/>
        </p:nvSpPr>
        <p:spPr bwMode="gray">
          <a:xfrm>
            <a:off x="0" y="3128575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9999" y="4402124"/>
            <a:ext cx="7200000" cy="102434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700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1700" b="0">
                <a:solidFill>
                  <a:schemeClr val="tx2"/>
                </a:solidFill>
              </a:defRPr>
            </a:lvl2pPr>
            <a:lvl3pPr marL="0" indent="0" algn="l">
              <a:spcBef>
                <a:spcPts val="1200"/>
              </a:spcBef>
              <a:buNone/>
              <a:defRPr sz="1100" b="0" cap="all" baseline="0">
                <a:solidFill>
                  <a:schemeClr val="tx2"/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Prénom Nom</a:t>
            </a:r>
          </a:p>
          <a:p>
            <a:pPr lvl="1"/>
            <a:r>
              <a:rPr lang="fr-FR" dirty="0"/>
              <a:t>Fonction</a:t>
            </a:r>
          </a:p>
          <a:p>
            <a:pPr lvl="2"/>
            <a:r>
              <a:rPr lang="fr-FR" dirty="0"/>
              <a:t>da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0" y="6678000"/>
            <a:ext cx="240000" cy="180000"/>
          </a:xfrm>
        </p:spPr>
        <p:txBody>
          <a:bodyPr/>
          <a:lstStyle/>
          <a:p>
            <a:endParaRPr lang="fr-FR" dirty="0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Sofcot, Patrick DELABORDE</a:t>
            </a:r>
            <a:endParaRPr lang="fr-FR" dirty="0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>
          <a:xfrm>
            <a:off x="0" y="6678000"/>
            <a:ext cx="240000" cy="180000"/>
          </a:xfrm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11" name="Titre 10"/>
          <p:cNvSpPr>
            <a:spLocks noGrp="1"/>
          </p:cNvSpPr>
          <p:nvPr>
            <p:ph type="title"/>
          </p:nvPr>
        </p:nvSpPr>
        <p:spPr bwMode="gray">
          <a:xfrm>
            <a:off x="719999" y="2657915"/>
            <a:ext cx="7200000" cy="1512168"/>
          </a:xfr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fr-FR" dirty="0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1623500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ADC59DE-2C93-3E2A-EA6F-AB0AAB85ED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3F48B49C-330E-318C-95BE-0466413481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2701E25-60BC-583C-B5D2-D8AD8280119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7B5F992-83C4-B454-C518-DFB4B438DD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90912" y="6361798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fr-FR"/>
              <a:t>Sofcot, Patrick DELABORD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8DFC0EF-FDCE-FB1D-112B-7B563C8950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07040" y="6356350"/>
            <a:ext cx="746760" cy="365125"/>
          </a:xfrm>
          <a:prstGeom prst="rect">
            <a:avLst/>
          </a:prstGeom>
        </p:spPr>
        <p:txBody>
          <a:bodyPr/>
          <a:lstStyle/>
          <a:p>
            <a:fld id="{0F3C276D-B6F8-4D82-8FFC-8C58539E527E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500058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1814E5F-A0B0-2C65-A156-42EDA7C360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B71F36E-A58B-92E1-1DB5-A88779F4BB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514C5688-7C40-1A5D-D62C-B3B90622783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68ED221-7E11-ADBF-A783-CF147E9D48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90912" y="6361798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fr-FR"/>
              <a:t>Sofcot, Patrick DELABORD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6EB48D1-C8A5-138B-6958-B46F169FBB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07040" y="6356350"/>
            <a:ext cx="746760" cy="365125"/>
          </a:xfrm>
          <a:prstGeom prst="rect">
            <a:avLst/>
          </a:prstGeom>
        </p:spPr>
        <p:txBody>
          <a:bodyPr/>
          <a:lstStyle/>
          <a:p>
            <a:fld id="{0F3C276D-B6F8-4D82-8FFC-8C58539E527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562347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16992F9-2EC6-6BC8-524F-3474834A3F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01F08AF1-74EC-C617-9096-6A1A98F0283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604F1DD-A884-19CF-24DB-48E66A31BE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B0A9363B-10B4-C10A-DD49-C2A68252010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C6719EFB-2EC3-3F7A-CE10-2A81B588DD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90912" y="6361798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fr-FR"/>
              <a:t>Sofcot, Patrick DELABORDE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0845CD63-0721-ACBA-D414-449D353AE4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07040" y="6356350"/>
            <a:ext cx="746760" cy="365125"/>
          </a:xfrm>
          <a:prstGeom prst="rect">
            <a:avLst/>
          </a:prstGeom>
        </p:spPr>
        <p:txBody>
          <a:bodyPr/>
          <a:lstStyle/>
          <a:p>
            <a:fld id="{0F3C276D-B6F8-4D82-8FFC-8C58539E527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770528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3EA581F-BDAC-428D-DBE6-96AB934BE4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CA4FC03-777B-3028-D2FD-93438A0C00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40733EC6-2DFD-6DB5-4BAF-B0358E3596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5C030B6B-0967-35BB-3D49-6529475B0D6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49B1932F-1609-0F7D-9E54-80F52077BB1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0A75DC80-C182-6E73-2877-7F0CF2E61AF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1ED64885-9CCA-5BF2-A981-B65A22851B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90912" y="6361798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fr-FR"/>
              <a:t>Sofcot, Patrick DELABORDE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2E153784-CC92-92B4-84E4-23E3CE21BA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07040" y="6356350"/>
            <a:ext cx="746760" cy="365125"/>
          </a:xfrm>
          <a:prstGeom prst="rect">
            <a:avLst/>
          </a:prstGeom>
        </p:spPr>
        <p:txBody>
          <a:bodyPr/>
          <a:lstStyle/>
          <a:p>
            <a:fld id="{0F3C276D-B6F8-4D82-8FFC-8C58539E527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19929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647EC4D-C800-4E77-4F63-3D47832DC7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562F3B5A-38C3-92DD-E6E5-4CC05CC9D13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338FE9AE-C0C7-0BEE-E990-85C63740FC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90912" y="6361798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fr-FR"/>
              <a:t>Sofcot, Patrick DELABORD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9F35D07-8FBE-1FFA-D3F7-85F28A688B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07040" y="6356350"/>
            <a:ext cx="746760" cy="365125"/>
          </a:xfrm>
          <a:prstGeom prst="rect">
            <a:avLst/>
          </a:prstGeom>
        </p:spPr>
        <p:txBody>
          <a:bodyPr/>
          <a:lstStyle/>
          <a:p>
            <a:fld id="{0F3C276D-B6F8-4D82-8FFC-8C58539E527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7473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D088CA5D-E3E9-545B-A22A-2194B4AB8A9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963C7771-47B8-D24B-B13F-3654107F47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90912" y="6361798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fr-FR"/>
              <a:t>Sofcot, Patrick DELABORDE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AD914842-D8B2-C94B-46B5-A4AD809862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07040" y="6356350"/>
            <a:ext cx="746760" cy="365125"/>
          </a:xfrm>
          <a:prstGeom prst="rect">
            <a:avLst/>
          </a:prstGeom>
        </p:spPr>
        <p:txBody>
          <a:bodyPr/>
          <a:lstStyle/>
          <a:p>
            <a:fld id="{0F3C276D-B6F8-4D82-8FFC-8C58539E527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384333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AE6F776-2E54-AD6F-4793-54C7122D67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DF13B8C-65FA-64B5-D429-D0590F32ED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B55FA598-4074-7399-3757-E48CE768721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3AE2ADBC-9747-F701-D5F1-F600BFDAA5F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88C5A60E-F7AC-5BFD-FB19-767746ED9C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90912" y="6361798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fr-FR"/>
              <a:t>Sofcot, Patrick DELABORDE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E5FDBC6-50A8-AE2B-A84B-0132AC936C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07040" y="6356350"/>
            <a:ext cx="746760" cy="365125"/>
          </a:xfrm>
          <a:prstGeom prst="rect">
            <a:avLst/>
          </a:prstGeom>
        </p:spPr>
        <p:txBody>
          <a:bodyPr/>
          <a:lstStyle/>
          <a:p>
            <a:fld id="{0F3C276D-B6F8-4D82-8FFC-8C58539E527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471729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F0ABD54-1D4F-6BB0-0A27-4C5DC7D86A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D4790167-53D7-A43A-53C8-F2B79AF38A3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27CD75F1-82E6-87B5-8C58-31B89779D49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CE2FCA45-23DD-201B-D42F-2C5DAB7DBB2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B245787A-DCAC-4CF1-5046-EA49D74A84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90912" y="6361798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fr-FR"/>
              <a:t>Sofcot, Patrick DELABORDE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BC72364F-1317-0E75-5022-BC6219585E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07040" y="6356350"/>
            <a:ext cx="746760" cy="365125"/>
          </a:xfrm>
          <a:prstGeom prst="rect">
            <a:avLst/>
          </a:prstGeom>
        </p:spPr>
        <p:txBody>
          <a:bodyPr/>
          <a:lstStyle/>
          <a:p>
            <a:fld id="{0F3C276D-B6F8-4D82-8FFC-8C58539E527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096288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7" Type="http://schemas.openxmlformats.org/officeDocument/2006/relationships/image" Target="../media/image3.png"/><Relationship Id="rId2" Type="http://schemas.openxmlformats.org/officeDocument/2006/relationships/tags" Target="../tags/tag1.xml"/><Relationship Id="rId1" Type="http://schemas.openxmlformats.org/officeDocument/2006/relationships/theme" Target="../theme/theme1.xml"/><Relationship Id="rId6" Type="http://schemas.microsoft.com/office/2007/relationships/hdphoto" Target="../media/hdphoto1.wdp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microsoft.com/office/2007/relationships/hdphoto" Target="../media/hdphoto1.wdp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16D30993-BAC2-430C-B6FE-F6F174AD51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2003022"/>
              </p:ext>
            </p:ext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6" progId="TCLayout.ActiveDocument.1">
                  <p:embed/>
                </p:oleObj>
              </mc:Choice>
              <mc:Fallback>
                <p:oleObj name="Diapositive think-cell" r:id="rId3" imgW="395" imgH="396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16D30993-BAC2-430C-B6FE-F6F174AD51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720000" y="3"/>
            <a:ext cx="10752000" cy="82973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noProof="0" dirty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720000" y="1242000"/>
            <a:ext cx="10752000" cy="48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fr-FR" dirty="0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6295882" y="6207302"/>
            <a:ext cx="4560000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lnSpc>
                <a:spcPct val="90000"/>
              </a:lnSpc>
              <a:defRPr sz="900">
                <a:solidFill>
                  <a:schemeClr val="tx2"/>
                </a:solidFill>
              </a:defRPr>
            </a:lvl1pPr>
          </a:lstStyle>
          <a:p>
            <a:pPr algn="l"/>
            <a:r>
              <a:rPr lang="fr-FR">
                <a:solidFill>
                  <a:srgbClr val="1A003B"/>
                </a:solidFill>
              </a:rPr>
              <a:t>Sofcot, Patrick DELABORDE</a:t>
            </a:r>
            <a:endParaRPr lang="fr-FR" dirty="0">
              <a:solidFill>
                <a:srgbClr val="1A003B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1087956" y="6192682"/>
            <a:ext cx="384044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900" b="1">
                <a:solidFill>
                  <a:schemeClr val="accent2"/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srgbClr val="FA6414"/>
                </a:solidFill>
              </a:rPr>
              <a:pPr/>
              <a:t>‹N°›</a:t>
            </a:fld>
            <a:endParaRPr lang="fr-FR" dirty="0">
              <a:solidFill>
                <a:srgbClr val="FA6414"/>
              </a:solidFill>
            </a:endParaRPr>
          </a:p>
        </p:txBody>
      </p:sp>
      <p:sp>
        <p:nvSpPr>
          <p:cNvPr id="8" name="Freeform 9">
            <a:extLst>
              <a:ext uri="{FF2B5EF4-FFF2-40B4-BE49-F238E27FC236}">
                <a16:creationId xmlns:a16="http://schemas.microsoft.com/office/drawing/2014/main" id="{F6F14783-EFE1-8EFB-82F2-4D9E8835A3B5}"/>
              </a:ext>
            </a:extLst>
          </p:cNvPr>
          <p:cNvSpPr>
            <a:spLocks/>
          </p:cNvSpPr>
          <p:nvPr userDrawn="1"/>
        </p:nvSpPr>
        <p:spPr bwMode="gray">
          <a:xfrm>
            <a:off x="0" y="3128575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blipFill dpi="0" rotWithShape="1">
            <a:blip r:embed="rId5" cstate="screen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artisticCrisscrossEtching trans="40000" pressure="1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4240096"/>
      </p:ext>
    </p:extLst>
  </p:cSld>
  <p:clrMap bg1="lt1" tx1="dk1" bg2="lt2" tx2="dk2" accent1="accent1" accent2="accent2" accent3="accent3" accent4="accent4" accent5="accent5" accent6="accent6" hlink="hlink" folHlink="folHlink"/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175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itchFamily="34" charset="0"/>
        <a:buNone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buFont typeface="Wingdings" pitchFamily="2" charset="2"/>
        <a:buNone/>
        <a:defRPr sz="12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270000" indent="-270000" algn="l" defTabSz="914400" rtl="0" eaLnBrk="1" latinLnBrk="0" hangingPunct="1">
        <a:lnSpc>
          <a:spcPct val="100000"/>
        </a:lnSpc>
        <a:spcBef>
          <a:spcPts val="400"/>
        </a:spcBef>
        <a:buSzPct val="100000"/>
        <a:buFontTx/>
        <a:buBlip>
          <a:blip r:embed="rId7"/>
        </a:buBlip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2700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SzPct val="100000"/>
        <a:buFont typeface="Arial" pitchFamily="34" charset="0"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719138" indent="-269875" algn="l" defTabSz="914400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SzPct val="100000"/>
        <a:buFont typeface="Arial" pitchFamily="34" charset="0"/>
        <a:buChar char="&gt;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081088" indent="-179388" algn="l" defTabSz="914400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Font typeface="Arial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A090C374-FC3D-128A-4436-28270700EB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6547C2C-4EF6-0821-6A87-95795A29BA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Freeform 9">
            <a:extLst>
              <a:ext uri="{FF2B5EF4-FFF2-40B4-BE49-F238E27FC236}">
                <a16:creationId xmlns:a16="http://schemas.microsoft.com/office/drawing/2014/main" id="{743F0B77-1E97-81F6-50C8-C59711310B52}"/>
              </a:ext>
            </a:extLst>
          </p:cNvPr>
          <p:cNvSpPr>
            <a:spLocks/>
          </p:cNvSpPr>
          <p:nvPr userDrawn="1"/>
        </p:nvSpPr>
        <p:spPr bwMode="gray">
          <a:xfrm>
            <a:off x="0" y="3128575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blipFill dpi="0" rotWithShape="1">
            <a:blip r:embed="rId13" cstate="screen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artisticCrisscrossEtching trans="40000" pressure="1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C552679F-CC7D-7C79-3A28-F472883CBB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047040" y="6374885"/>
            <a:ext cx="4560000" cy="36512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lnSpc>
                <a:spcPct val="90000"/>
              </a:lnSpc>
              <a:defRPr sz="900">
                <a:solidFill>
                  <a:schemeClr val="tx2"/>
                </a:solidFill>
              </a:defRPr>
            </a:lvl1pPr>
          </a:lstStyle>
          <a:p>
            <a:pPr algn="l"/>
            <a:r>
              <a:rPr lang="fr-FR">
                <a:solidFill>
                  <a:srgbClr val="1A003B"/>
                </a:solidFill>
              </a:rPr>
              <a:t>Sofcot, Patrick DELABORDE</a:t>
            </a:r>
            <a:endParaRPr lang="fr-FR" dirty="0">
              <a:solidFill>
                <a:srgbClr val="1A003B"/>
              </a:solidFill>
            </a:endParaRPr>
          </a:p>
        </p:txBody>
      </p:sp>
      <p:sp>
        <p:nvSpPr>
          <p:cNvPr id="9" name="Espace réservé du numéro de diapositive 5">
            <a:extLst>
              <a:ext uri="{FF2B5EF4-FFF2-40B4-BE49-F238E27FC236}">
                <a16:creationId xmlns:a16="http://schemas.microsoft.com/office/drawing/2014/main" id="{5BA122FD-2E0D-6396-C310-B9531B3B87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823454" y="6374884"/>
            <a:ext cx="384044" cy="36512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900" b="1">
                <a:solidFill>
                  <a:schemeClr val="accent2"/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srgbClr val="FA6414"/>
                </a:solidFill>
              </a:rPr>
              <a:pPr/>
              <a:t>‹N°›</a:t>
            </a:fld>
            <a:endParaRPr lang="fr-FR" dirty="0">
              <a:solidFill>
                <a:srgbClr val="FA641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53484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16D30993-BAC2-430C-B6FE-F6F174AD5134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52003022"/>
              </p:ext>
            </p:ext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395" imgH="396" progId="TCLayout.ActiveDocument.1">
                  <p:embed/>
                </p:oleObj>
              </mc:Choice>
              <mc:Fallback>
                <p:oleObj name="Diapositive think-cell" r:id="rId5" imgW="395" imgH="396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16D30993-BAC2-430C-B6FE-F6F174AD51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 9"/>
          <p:cNvSpPr>
            <a:spLocks/>
          </p:cNvSpPr>
          <p:nvPr/>
        </p:nvSpPr>
        <p:spPr bwMode="gray">
          <a:xfrm>
            <a:off x="0" y="3124198"/>
            <a:ext cx="12192000" cy="3733800"/>
          </a:xfrm>
          <a:custGeom>
            <a:avLst/>
            <a:gdLst>
              <a:gd name="T0" fmla="*/ 5621 w 9599"/>
              <a:gd name="T1" fmla="*/ 1228 h 3910"/>
              <a:gd name="T2" fmla="*/ 5621 w 9599"/>
              <a:gd name="T3" fmla="*/ 1228 h 3910"/>
              <a:gd name="T4" fmla="*/ 3958 w 9599"/>
              <a:gd name="T5" fmla="*/ 2123 h 3910"/>
              <a:gd name="T6" fmla="*/ 0 w 9599"/>
              <a:gd name="T7" fmla="*/ 3623 h 3910"/>
              <a:gd name="T8" fmla="*/ 0 w 9599"/>
              <a:gd name="T9" fmla="*/ 3672 h 3910"/>
              <a:gd name="T10" fmla="*/ 0 w 9599"/>
              <a:gd name="T11" fmla="*/ 3910 h 3910"/>
              <a:gd name="T12" fmla="*/ 4017 w 9599"/>
              <a:gd name="T13" fmla="*/ 3910 h 3910"/>
              <a:gd name="T14" fmla="*/ 4091 w 9599"/>
              <a:gd name="T15" fmla="*/ 3910 h 3910"/>
              <a:gd name="T16" fmla="*/ 9599 w 9599"/>
              <a:gd name="T17" fmla="*/ 843 h 3910"/>
              <a:gd name="T18" fmla="*/ 9599 w 9599"/>
              <a:gd name="T19" fmla="*/ 793 h 3910"/>
              <a:gd name="T20" fmla="*/ 9599 w 9599"/>
              <a:gd name="T21" fmla="*/ 47 h 3910"/>
              <a:gd name="T22" fmla="*/ 9599 w 9599"/>
              <a:gd name="T23" fmla="*/ 0 h 3910"/>
              <a:gd name="T24" fmla="*/ 5621 w 9599"/>
              <a:gd name="T25" fmla="*/ 1228 h 3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599" h="3910">
                <a:moveTo>
                  <a:pt x="5621" y="1228"/>
                </a:moveTo>
                <a:lnTo>
                  <a:pt x="5621" y="1228"/>
                </a:lnTo>
                <a:cubicBezTo>
                  <a:pt x="4987" y="1564"/>
                  <a:pt x="4441" y="1861"/>
                  <a:pt x="3958" y="2123"/>
                </a:cubicBezTo>
                <a:cubicBezTo>
                  <a:pt x="1994" y="3192"/>
                  <a:pt x="1141" y="3656"/>
                  <a:pt x="0" y="3623"/>
                </a:cubicBezTo>
                <a:lnTo>
                  <a:pt x="0" y="3672"/>
                </a:lnTo>
                <a:lnTo>
                  <a:pt x="0" y="3910"/>
                </a:lnTo>
                <a:lnTo>
                  <a:pt x="4017" y="3910"/>
                </a:lnTo>
                <a:lnTo>
                  <a:pt x="4091" y="3910"/>
                </a:lnTo>
                <a:cubicBezTo>
                  <a:pt x="5240" y="2955"/>
                  <a:pt x="7171" y="1517"/>
                  <a:pt x="9599" y="843"/>
                </a:cubicBezTo>
                <a:lnTo>
                  <a:pt x="9599" y="793"/>
                </a:lnTo>
                <a:lnTo>
                  <a:pt x="9599" y="47"/>
                </a:lnTo>
                <a:lnTo>
                  <a:pt x="9599" y="0"/>
                </a:lnTo>
                <a:cubicBezTo>
                  <a:pt x="8258" y="127"/>
                  <a:pt x="6923" y="539"/>
                  <a:pt x="5621" y="1228"/>
                </a:cubicBez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720000" y="3"/>
            <a:ext cx="10752000" cy="82973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noProof="0" dirty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720000" y="1242000"/>
            <a:ext cx="10752000" cy="48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  <a:p>
            <a:pPr lvl="5"/>
            <a:r>
              <a:rPr lang="fr-FR" noProof="0" dirty="0"/>
              <a:t>Texte de niveau 6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0" y="6678000"/>
            <a:ext cx="240000" cy="1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fr-FR" dirty="0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149451" y="6192682"/>
            <a:ext cx="4560000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lnSpc>
                <a:spcPct val="90000"/>
              </a:lnSpc>
              <a:defRPr sz="900">
                <a:solidFill>
                  <a:schemeClr val="tx2"/>
                </a:solidFill>
              </a:defRPr>
            </a:lvl1pPr>
          </a:lstStyle>
          <a:p>
            <a:pPr algn="l"/>
            <a:r>
              <a:rPr lang="fr-FR">
                <a:solidFill>
                  <a:srgbClr val="1A003B"/>
                </a:solidFill>
              </a:rPr>
              <a:t>Sofcot, Patrick DELABORDE</a:t>
            </a:r>
            <a:endParaRPr lang="fr-FR" dirty="0">
              <a:solidFill>
                <a:srgbClr val="1A003B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719402" y="6192682"/>
            <a:ext cx="384044" cy="4406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900" b="1">
                <a:solidFill>
                  <a:schemeClr val="accent2"/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srgbClr val="FA6414"/>
                </a:solidFill>
              </a:rPr>
              <a:pPr/>
              <a:t>‹N°›</a:t>
            </a:fld>
            <a:endParaRPr lang="fr-FR" dirty="0">
              <a:solidFill>
                <a:srgbClr val="FA641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7403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3" r:id="rId2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175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itchFamily="34" charset="0"/>
        <a:buNone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buFont typeface="Wingdings" pitchFamily="2" charset="2"/>
        <a:buNone/>
        <a:defRPr sz="12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270000" indent="-270000" algn="l" defTabSz="914400" rtl="0" eaLnBrk="1" latinLnBrk="0" hangingPunct="1">
        <a:lnSpc>
          <a:spcPct val="100000"/>
        </a:lnSpc>
        <a:spcBef>
          <a:spcPts val="400"/>
        </a:spcBef>
        <a:buSzPct val="100000"/>
        <a:buFontTx/>
        <a:buBlip>
          <a:blip r:embed="rId7"/>
        </a:buBlip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2700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SzPct val="100000"/>
        <a:buFont typeface="Arial" pitchFamily="34" charset="0"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719138" indent="-269875" algn="l" defTabSz="914400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SzPct val="100000"/>
        <a:buFont typeface="Arial" pitchFamily="34" charset="0"/>
        <a:buChar char="&gt;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081088" indent="-179388" algn="l" defTabSz="914400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Font typeface="Arial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emf"/><Relationship Id="rId10" Type="http://schemas.openxmlformats.org/officeDocument/2006/relationships/image" Target="../media/image15.png"/><Relationship Id="rId4" Type="http://schemas.openxmlformats.org/officeDocument/2006/relationships/image" Target="../media/image9.emf"/><Relationship Id="rId9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7" Type="http://schemas.openxmlformats.org/officeDocument/2006/relationships/image" Target="../media/image7.jp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png"/><Relationship Id="rId5" Type="http://schemas.openxmlformats.org/officeDocument/2006/relationships/image" Target="../media/image23.jpeg"/><Relationship Id="rId4" Type="http://schemas.openxmlformats.org/officeDocument/2006/relationships/image" Target="../media/image22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12.png"/><Relationship Id="rId3" Type="http://schemas.openxmlformats.org/officeDocument/2006/relationships/image" Target="../media/image25.jpeg"/><Relationship Id="rId7" Type="http://schemas.openxmlformats.org/officeDocument/2006/relationships/image" Target="../media/image28.png"/><Relationship Id="rId12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11" Type="http://schemas.openxmlformats.org/officeDocument/2006/relationships/image" Target="../media/image16.png"/><Relationship Id="rId5" Type="http://schemas.openxmlformats.org/officeDocument/2006/relationships/image" Target="../media/image26.png"/><Relationship Id="rId15" Type="http://schemas.openxmlformats.org/officeDocument/2006/relationships/image" Target="../media/image33.png"/><Relationship Id="rId10" Type="http://schemas.openxmlformats.org/officeDocument/2006/relationships/image" Target="../media/image31.png"/><Relationship Id="rId4" Type="http://schemas.openxmlformats.org/officeDocument/2006/relationships/image" Target="file:///c:\pegaseimage.jpg" TargetMode="External"/><Relationship Id="rId9" Type="http://schemas.openxmlformats.org/officeDocument/2006/relationships/image" Target="../media/image30.png"/><Relationship Id="rId14" Type="http://schemas.openxmlformats.org/officeDocument/2006/relationships/image" Target="../media/image3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7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4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120CCE0-FACA-7CE8-FD13-BCF252652F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r-FR">
                <a:solidFill>
                  <a:prstClr val="black">
                    <a:alpha val="0"/>
                  </a:prstClr>
                </a:solidFill>
              </a:rPr>
              <a:t>Sofcot, Patrick DELABORDE</a:t>
            </a:r>
            <a:endParaRPr lang="fr-FR" dirty="0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D13A81C2-F27A-3F73-CD5C-D3FEDCFA10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1</a:t>
            </a:fld>
            <a:endParaRPr lang="fr-FR" dirty="0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2F7A1C88-89A4-EA56-1494-515FFAE5A7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01" y="2805557"/>
            <a:ext cx="11031772" cy="535494"/>
          </a:xfrm>
        </p:spPr>
        <p:txBody>
          <a:bodyPr/>
          <a:lstStyle/>
          <a:p>
            <a:r>
              <a:rPr lang="fr-FR" sz="2800" b="1" i="0" cap="all" dirty="0">
                <a:solidFill>
                  <a:srgbClr val="252626"/>
                </a:solidFill>
                <a:effectLst/>
                <a:latin typeface="Lato" panose="020F0502020204030203" pitchFamily="34" charset="0"/>
              </a:rPr>
              <a:t>LE TITANE MÉDICAL : DE LA PRODUCTION AU RECYCLAGE</a:t>
            </a:r>
            <a:endParaRPr lang="fr-FR" sz="2800" dirty="0"/>
          </a:p>
        </p:txBody>
      </p:sp>
      <p:pic>
        <p:nvPicPr>
          <p:cNvPr id="1026" name="c8260f88-1dfd-4c67-af21-b7a53a5d32b0" descr="TÊTIÈRE.jpg">
            <a:extLst>
              <a:ext uri="{FF2B5EF4-FFF2-40B4-BE49-F238E27FC236}">
                <a16:creationId xmlns:a16="http://schemas.microsoft.com/office/drawing/2014/main" id="{9F403528-F104-6D58-9E62-CE4D0E74EB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757" y="474506"/>
            <a:ext cx="10166849" cy="21834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ous-titre 1">
            <a:extLst>
              <a:ext uri="{FF2B5EF4-FFF2-40B4-BE49-F238E27FC236}">
                <a16:creationId xmlns:a16="http://schemas.microsoft.com/office/drawing/2014/main" id="{7F19BA2A-F5E8-21AC-54E5-53DD491566E7}"/>
              </a:ext>
            </a:extLst>
          </p:cNvPr>
          <p:cNvSpPr txBox="1">
            <a:spLocks/>
          </p:cNvSpPr>
          <p:nvPr/>
        </p:nvSpPr>
        <p:spPr bwMode="gray">
          <a:xfrm>
            <a:off x="7759337" y="4896822"/>
            <a:ext cx="4249783" cy="102434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7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7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SzPct val="100000"/>
              <a:buFontTx/>
              <a:buNone/>
              <a:defRPr sz="1100" b="0" kern="1200" cap="all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None/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fr-FR" dirty="0"/>
              <a:t>Patrick DELABORDE,</a:t>
            </a:r>
          </a:p>
          <a:p>
            <a:pPr algn="r"/>
            <a:endParaRPr lang="fr-F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/>
              <a:t>Safran, Aubert et Duval : </a:t>
            </a:r>
            <a:r>
              <a:rPr lang="fr-FR" sz="1400" b="0" dirty="0"/>
              <a:t>Qualité, Production, Direction Usines, Stratégie Industrielle, Développement filière Titane</a:t>
            </a:r>
          </a:p>
          <a:p>
            <a:endParaRPr lang="fr-FR" dirty="0"/>
          </a:p>
        </p:txBody>
      </p:sp>
      <p:sp>
        <p:nvSpPr>
          <p:cNvPr id="7" name="Sous-titre 1">
            <a:extLst>
              <a:ext uri="{FF2B5EF4-FFF2-40B4-BE49-F238E27FC236}">
                <a16:creationId xmlns:a16="http://schemas.microsoft.com/office/drawing/2014/main" id="{240EC4CB-ED53-0C32-0DB5-93DA9965DE96}"/>
              </a:ext>
            </a:extLst>
          </p:cNvPr>
          <p:cNvSpPr txBox="1">
            <a:spLocks/>
          </p:cNvSpPr>
          <p:nvPr/>
        </p:nvSpPr>
        <p:spPr bwMode="gray">
          <a:xfrm>
            <a:off x="6418216" y="6109608"/>
            <a:ext cx="5590904" cy="30809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7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7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SzPct val="100000"/>
              <a:buFontTx/>
              <a:buNone/>
              <a:defRPr sz="1100" b="0" kern="1200" cap="all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None/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/>
              <a:t>Président de l’Association Française du Titane : </a:t>
            </a:r>
            <a:r>
              <a:rPr lang="fr-FR" sz="1400" b="0" dirty="0"/>
              <a:t>2016 à 2022</a:t>
            </a:r>
          </a:p>
        </p:txBody>
      </p:sp>
      <p:sp>
        <p:nvSpPr>
          <p:cNvPr id="8" name="Sous-titre 1">
            <a:extLst>
              <a:ext uri="{FF2B5EF4-FFF2-40B4-BE49-F238E27FC236}">
                <a16:creationId xmlns:a16="http://schemas.microsoft.com/office/drawing/2014/main" id="{E64867E7-3FE7-FF65-CCAE-089ECA83CA02}"/>
              </a:ext>
            </a:extLst>
          </p:cNvPr>
          <p:cNvSpPr txBox="1">
            <a:spLocks/>
          </p:cNvSpPr>
          <p:nvPr/>
        </p:nvSpPr>
        <p:spPr bwMode="gray">
          <a:xfrm>
            <a:off x="5934887" y="6443826"/>
            <a:ext cx="5590904" cy="340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7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17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SzPct val="100000"/>
              <a:buFontTx/>
              <a:buNone/>
              <a:defRPr sz="1100" b="0" kern="1200" cap="all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itchFamily="34" charset="0"/>
              <a:buNone/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/>
              <a:t>En préparation : </a:t>
            </a:r>
            <a:r>
              <a:rPr lang="fr-FR" sz="1400" b="0" dirty="0"/>
              <a:t>Conseil et Formation 2023 et +</a:t>
            </a:r>
            <a:endParaRPr lang="fr-FR" sz="1400" dirty="0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D8DD6BFD-F78F-021D-B216-A499092DC78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2880" y="4687005"/>
            <a:ext cx="4249783" cy="1051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25520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3EFB60A-0E95-A8E7-FA07-744F1ABA6F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470" y="365125"/>
            <a:ext cx="10946330" cy="1325563"/>
          </a:xfrm>
          <a:solidFill>
            <a:schemeClr val="bg2"/>
          </a:solidFill>
        </p:spPr>
        <p:txBody>
          <a:bodyPr/>
          <a:lstStyle/>
          <a:p>
            <a:r>
              <a:rPr lang="fr-FR" dirty="0"/>
              <a:t>Sommai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AE62601-62ED-C7BE-B8D6-9F43B747CB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470" y="1690688"/>
            <a:ext cx="7125444" cy="2752813"/>
          </a:xfrm>
        </p:spPr>
        <p:txBody>
          <a:bodyPr>
            <a:normAutofit lnSpcReduction="10000"/>
          </a:bodyPr>
          <a:lstStyle/>
          <a:p>
            <a:r>
              <a:rPr lang="fr-FR" dirty="0"/>
              <a:t>Intérêt du titane</a:t>
            </a:r>
          </a:p>
          <a:p>
            <a:r>
              <a:rPr lang="fr-FR" dirty="0"/>
              <a:t>Le titane du minerai à l’éponge de titane, puis au lingot</a:t>
            </a:r>
          </a:p>
          <a:p>
            <a:r>
              <a:rPr lang="fr-FR" dirty="0"/>
              <a:t>Du lingot aux demi-produits</a:t>
            </a:r>
          </a:p>
          <a:p>
            <a:r>
              <a:rPr lang="fr-FR" dirty="0"/>
              <a:t>Le recyclage </a:t>
            </a:r>
          </a:p>
          <a:p>
            <a:r>
              <a:rPr lang="fr-FR" dirty="0"/>
              <a:t>Intérêt du recyclage</a:t>
            </a: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563BA96-8D6A-F455-846C-C25DDD82C9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Sofcot, Patrick DELABORDE</a:t>
            </a:r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AB60119-445A-D34B-4387-991E60C565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C276D-B6F8-4D82-8FFC-8C58539E527E}" type="slidenum">
              <a:rPr lang="fr-FR" smtClean="0"/>
              <a:t>2</a:t>
            </a:fld>
            <a:endParaRPr lang="fr-FR" dirty="0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3E5D3226-CA36-9034-E7F4-05ECF81234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3485265" y="4872482"/>
            <a:ext cx="1961057" cy="1103095"/>
          </a:xfrm>
          <a:prstGeom prst="rect">
            <a:avLst/>
          </a:prstGeom>
        </p:spPr>
      </p:pic>
      <p:pic>
        <p:nvPicPr>
          <p:cNvPr id="4" name="Picture 2" descr="Ilmenite Concentrate TiO2 min 54% | | Whalesale LLC">
            <a:extLst>
              <a:ext uri="{FF2B5EF4-FFF2-40B4-BE49-F238E27FC236}">
                <a16:creationId xmlns:a16="http://schemas.microsoft.com/office/drawing/2014/main" id="{7692732A-058F-6F48-2745-BF933F95D5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020" y="4742747"/>
            <a:ext cx="2016698" cy="1008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D2ACCA25-8E34-8C3B-BBDA-3D4630A544C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71384" y="4742746"/>
            <a:ext cx="1344465" cy="1008349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D2BD197E-42C6-E068-7B5E-8665C5337EA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91763" y="4696252"/>
            <a:ext cx="1694325" cy="1255829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7BFD3ABF-E9C3-0776-8B4B-8B0C4D8C6D8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30308" y="4742746"/>
            <a:ext cx="1054978" cy="857764"/>
          </a:xfrm>
          <a:prstGeom prst="rect">
            <a:avLst/>
          </a:prstGeom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435DB75D-1024-959C-D428-4F40ACF4E09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457708" y="5936026"/>
            <a:ext cx="927578" cy="622680"/>
          </a:xfrm>
          <a:prstGeom prst="rect">
            <a:avLst/>
          </a:prstGeom>
        </p:spPr>
      </p:pic>
      <p:pic>
        <p:nvPicPr>
          <p:cNvPr id="27" name="Image 26">
            <a:extLst>
              <a:ext uri="{FF2B5EF4-FFF2-40B4-BE49-F238E27FC236}">
                <a16:creationId xmlns:a16="http://schemas.microsoft.com/office/drawing/2014/main" id="{1379F173-667E-D464-6E02-1D21AB1F2E3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312435" y="5565650"/>
            <a:ext cx="450808" cy="978458"/>
          </a:xfrm>
          <a:prstGeom prst="rect">
            <a:avLst/>
          </a:prstGeom>
        </p:spPr>
      </p:pic>
      <p:pic>
        <p:nvPicPr>
          <p:cNvPr id="29" name="Image 28">
            <a:extLst>
              <a:ext uri="{FF2B5EF4-FFF2-40B4-BE49-F238E27FC236}">
                <a16:creationId xmlns:a16="http://schemas.microsoft.com/office/drawing/2014/main" id="{F01CBBC8-BEB0-2C69-23D9-4F8657351DC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071578" y="4678284"/>
            <a:ext cx="932522" cy="864948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3EC775B4-078F-E68C-EBA1-F9FC8C3B156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9970563" y="3534225"/>
            <a:ext cx="1021446" cy="677117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26F1EE80-4697-8EF2-2A3E-73F49FC18C9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4881" y="3527083"/>
            <a:ext cx="1021445" cy="892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20752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8EB4D0E-5593-9E46-A193-219F2EFF39C0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chemeClr val="accent1">
              <a:lumMod val="40000"/>
              <a:lumOff val="60000"/>
            </a:schemeClr>
          </a:solidFill>
        </p:spPr>
        <p:txBody>
          <a:bodyPr/>
          <a:lstStyle/>
          <a:p>
            <a:r>
              <a:rPr lang="fr-FR" dirty="0"/>
              <a:t>Intérêts du Titane (médical)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010BD53E-9915-CB8F-2695-6192F0C448A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914246" cy="4351338"/>
          </a:xfrm>
        </p:spPr>
        <p:txBody>
          <a:bodyPr>
            <a:normAutofit/>
          </a:bodyPr>
          <a:lstStyle/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2D050"/>
              </a:buClr>
              <a:buFont typeface="Wingdings" panose="05000000000000000000" pitchFamily="2" charset="2"/>
              <a:buChar char="ü"/>
            </a:pPr>
            <a:r>
              <a:rPr lang="fr-FR" altLang="fr-FR" sz="1800" b="1" dirty="0">
                <a:solidFill>
                  <a:srgbClr val="FF0000"/>
                </a:solidFill>
                <a:latin typeface="Arial" panose="020B0604020202020204" pitchFamily="34" charset="0"/>
              </a:rPr>
              <a:t>Densité</a:t>
            </a:r>
            <a:r>
              <a:rPr lang="fr-FR" altLang="fr-FR" sz="1800" dirty="0">
                <a:latin typeface="Arial" panose="020B0604020202020204" pitchFamily="34" charset="0"/>
              </a:rPr>
              <a:t> du titane pur grade 2 : </a:t>
            </a:r>
            <a:r>
              <a:rPr lang="fr-FR" altLang="fr-FR" sz="1800" b="1" dirty="0">
                <a:solidFill>
                  <a:srgbClr val="FF0000"/>
                </a:solidFill>
                <a:latin typeface="Arial" panose="020B0604020202020204" pitchFamily="34" charset="0"/>
              </a:rPr>
              <a:t>4.55</a:t>
            </a:r>
            <a:r>
              <a:rPr lang="fr-FR" altLang="fr-FR" sz="1800" dirty="0">
                <a:latin typeface="Arial" panose="020B0604020202020204" pitchFamily="34" charset="0"/>
              </a:rPr>
              <a:t> / du TA6V4 : </a:t>
            </a:r>
            <a:r>
              <a:rPr lang="fr-FR" altLang="fr-FR" sz="1800" b="1" dirty="0">
                <a:solidFill>
                  <a:srgbClr val="FF0000"/>
                </a:solidFill>
                <a:latin typeface="Arial" panose="020B0604020202020204" pitchFamily="34" charset="0"/>
              </a:rPr>
              <a:t>4.43 </a:t>
            </a:r>
            <a:r>
              <a:rPr lang="fr-FR" altLang="fr-FR" sz="1800" dirty="0">
                <a:latin typeface="Arial" panose="020B0604020202020204" pitchFamily="34" charset="0"/>
              </a:rPr>
              <a:t>                 acier : 7.85, Super Alliages 8 et plus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2D050"/>
              </a:buClr>
              <a:buFont typeface="Wingdings" panose="05000000000000000000" pitchFamily="2" charset="2"/>
              <a:buChar char="ü"/>
            </a:pPr>
            <a:endParaRPr lang="fr-FR" altLang="fr-FR" sz="1800" dirty="0">
              <a:latin typeface="Arial" panose="020B0604020202020204" pitchFamily="34" charset="0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2D050"/>
              </a:buClr>
              <a:buFont typeface="Wingdings" panose="05000000000000000000" pitchFamily="2" charset="2"/>
              <a:buChar char="ü"/>
            </a:pPr>
            <a:r>
              <a:rPr lang="fr-FR" altLang="fr-FR" sz="1800" dirty="0">
                <a:latin typeface="Arial" panose="020B0604020202020204" pitchFamily="34" charset="0"/>
              </a:rPr>
              <a:t>Le titane est le métal avec le meilleur ratio </a:t>
            </a:r>
            <a:r>
              <a:rPr lang="fr-FR" altLang="fr-FR" sz="1800" b="1" dirty="0">
                <a:solidFill>
                  <a:srgbClr val="FF0000"/>
                </a:solidFill>
                <a:latin typeface="Arial" panose="020B0604020202020204" pitchFamily="34" charset="0"/>
              </a:rPr>
              <a:t>Résistance / Masse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2D050"/>
              </a:buClr>
              <a:buFont typeface="Wingdings" panose="05000000000000000000" pitchFamily="2" charset="2"/>
              <a:buChar char="ü"/>
            </a:pPr>
            <a:endParaRPr lang="fr-FR" altLang="fr-FR" sz="1800" b="1" dirty="0">
              <a:solidFill>
                <a:srgbClr val="FF0000"/>
              </a:solidFill>
              <a:latin typeface="Arial" panose="020B0604020202020204" pitchFamily="34" charset="0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2D050"/>
              </a:buClr>
              <a:buFont typeface="Wingdings" panose="05000000000000000000" pitchFamily="2" charset="2"/>
              <a:buChar char="ü"/>
            </a:pPr>
            <a:r>
              <a:rPr lang="fr-FR" altLang="fr-FR" sz="1800" b="1" dirty="0">
                <a:solidFill>
                  <a:srgbClr val="FF0000"/>
                </a:solidFill>
                <a:latin typeface="Arial" panose="020B0604020202020204" pitchFamily="34" charset="0"/>
              </a:rPr>
              <a:t>Excellente élasticité </a:t>
            </a:r>
            <a:r>
              <a:rPr lang="fr-FR" altLang="fr-FR" sz="1800" dirty="0">
                <a:latin typeface="Arial" panose="020B0604020202020204" pitchFamily="34" charset="0"/>
              </a:rPr>
              <a:t>: Module de Young : 110 </a:t>
            </a:r>
            <a:r>
              <a:rPr lang="fr-FR" altLang="fr-FR" sz="1800" dirty="0" err="1">
                <a:latin typeface="Arial" panose="020B0604020202020204" pitchFamily="34" charset="0"/>
              </a:rPr>
              <a:t>GPa</a:t>
            </a:r>
            <a:r>
              <a:rPr lang="fr-FR" altLang="fr-FR" sz="1800" dirty="0">
                <a:latin typeface="Arial" panose="020B0604020202020204" pitchFamily="34" charset="0"/>
              </a:rPr>
              <a:t>; (aciers : 200 </a:t>
            </a:r>
            <a:r>
              <a:rPr lang="fr-FR" altLang="fr-FR" sz="1800" dirty="0" err="1">
                <a:latin typeface="Arial" panose="020B0604020202020204" pitchFamily="34" charset="0"/>
              </a:rPr>
              <a:t>Gpa</a:t>
            </a:r>
            <a:r>
              <a:rPr lang="fr-FR" altLang="fr-FR" sz="1800" dirty="0">
                <a:latin typeface="Arial" panose="020B0604020202020204" pitchFamily="34" charset="0"/>
              </a:rPr>
              <a:t>, Aluminium : 60 </a:t>
            </a:r>
            <a:r>
              <a:rPr lang="fr-FR" altLang="fr-FR" sz="1800" dirty="0" err="1">
                <a:latin typeface="Arial" panose="020B0604020202020204" pitchFamily="34" charset="0"/>
              </a:rPr>
              <a:t>Gpa</a:t>
            </a:r>
            <a:r>
              <a:rPr lang="fr-FR" altLang="fr-FR" sz="1800" dirty="0">
                <a:latin typeface="Arial" panose="020B0604020202020204" pitchFamily="34" charset="0"/>
              </a:rPr>
              <a:t> , os humain 20 </a:t>
            </a:r>
            <a:r>
              <a:rPr lang="fr-FR" altLang="fr-FR" sz="1800" dirty="0" err="1">
                <a:latin typeface="Arial" panose="020B0604020202020204" pitchFamily="34" charset="0"/>
              </a:rPr>
              <a:t>GPa</a:t>
            </a:r>
            <a:r>
              <a:rPr lang="fr-FR" altLang="fr-FR" sz="1800" dirty="0">
                <a:latin typeface="Arial" panose="020B0604020202020204" pitchFamily="34" charset="0"/>
              </a:rPr>
              <a:t>) 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2D050"/>
              </a:buClr>
              <a:buFont typeface="Wingdings" panose="05000000000000000000" pitchFamily="2" charset="2"/>
              <a:buChar char="ü"/>
            </a:pPr>
            <a:endParaRPr lang="fr-FR" altLang="fr-FR" sz="1800" b="1" dirty="0">
              <a:solidFill>
                <a:srgbClr val="FF0000"/>
              </a:solidFill>
              <a:latin typeface="Arial" panose="020B0604020202020204" pitchFamily="34" charset="0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2D050"/>
              </a:buClr>
              <a:buFont typeface="Wingdings" panose="05000000000000000000" pitchFamily="2" charset="2"/>
              <a:buChar char="ü"/>
            </a:pPr>
            <a:r>
              <a:rPr lang="fr-FR" altLang="fr-FR" sz="1800" b="1" dirty="0">
                <a:solidFill>
                  <a:srgbClr val="FF0000"/>
                </a:solidFill>
                <a:latin typeface="Arial" panose="020B0604020202020204" pitchFamily="34" charset="0"/>
              </a:rPr>
              <a:t>Corrosion</a:t>
            </a:r>
            <a:r>
              <a:rPr lang="fr-FR" altLang="fr-FR" sz="1800" dirty="0">
                <a:latin typeface="Arial" panose="020B0604020202020204" pitchFamily="34" charset="0"/>
              </a:rPr>
              <a:t> : excellent (</a:t>
            </a:r>
            <a:r>
              <a:rPr lang="fr-FR" altLang="fr-FR" sz="1800" dirty="0">
                <a:latin typeface="Arial" panose="020B0604020202020204" pitchFamily="34" charset="0"/>
                <a:sym typeface="Wingdings" panose="05000000000000000000" pitchFamily="2" charset="2"/>
              </a:rPr>
              <a:t> chimie, eau , saumure)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2D050"/>
              </a:buClr>
              <a:buFont typeface="Wingdings" panose="05000000000000000000" pitchFamily="2" charset="2"/>
              <a:buChar char="ü"/>
            </a:pPr>
            <a:endParaRPr lang="fr-FR" altLang="fr-FR" sz="1800" dirty="0">
              <a:latin typeface="Arial" panose="020B0604020202020204" pitchFamily="34" charset="0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2D050"/>
              </a:buClr>
              <a:buFont typeface="Wingdings" panose="05000000000000000000" pitchFamily="2" charset="2"/>
              <a:buChar char="ü"/>
            </a:pPr>
            <a:r>
              <a:rPr lang="fr-FR" altLang="fr-FR" sz="1800" dirty="0">
                <a:latin typeface="Arial" panose="020B0604020202020204" pitchFamily="34" charset="0"/>
              </a:rPr>
              <a:t>Non toxique dans le corps humain (implants) </a:t>
            </a:r>
            <a:r>
              <a:rPr lang="fr-FR" altLang="fr-FR" sz="1800" dirty="0">
                <a:latin typeface="Arial" panose="020B0604020202020204" pitchFamily="34" charset="0"/>
                <a:sym typeface="Wingdings" panose="05000000000000000000" pitchFamily="2" charset="2"/>
              </a:rPr>
              <a:t> </a:t>
            </a:r>
            <a:r>
              <a:rPr lang="fr-FR" altLang="fr-FR" sz="1800" b="1" dirty="0">
                <a:solidFill>
                  <a:srgbClr val="FF0000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Biocompatible</a:t>
            </a:r>
            <a:endParaRPr lang="fr-FR" altLang="fr-FR" sz="1800" dirty="0">
              <a:latin typeface="Arial" panose="020B0604020202020204" pitchFamily="34" charset="0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2D050"/>
              </a:buClr>
              <a:buFont typeface="Wingdings" panose="05000000000000000000" pitchFamily="2" charset="2"/>
              <a:buChar char="ü"/>
            </a:pPr>
            <a:endParaRPr lang="fr-FR" altLang="fr-FR" sz="1800" b="1" dirty="0">
              <a:solidFill>
                <a:srgbClr val="FF0000"/>
              </a:solidFill>
              <a:latin typeface="Arial" panose="020B0604020202020204" pitchFamily="34" charset="0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2D050"/>
              </a:buClr>
              <a:buFont typeface="Wingdings" panose="05000000000000000000" pitchFamily="2" charset="2"/>
              <a:buChar char="ü"/>
            </a:pPr>
            <a:r>
              <a:rPr lang="fr-FR" altLang="fr-FR" sz="1800" b="1" dirty="0">
                <a:solidFill>
                  <a:srgbClr val="FF0000"/>
                </a:solidFill>
                <a:latin typeface="Arial" panose="020B0604020202020204" pitchFamily="34" charset="0"/>
              </a:rPr>
              <a:t>Amagnétique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2D050"/>
              </a:buClr>
              <a:buFont typeface="Wingdings" panose="05000000000000000000" pitchFamily="2" charset="2"/>
              <a:buChar char="ü"/>
            </a:pPr>
            <a:endParaRPr lang="fr-FR" altLang="fr-FR" sz="1800" b="1" dirty="0">
              <a:solidFill>
                <a:srgbClr val="FF0000"/>
              </a:solidFill>
              <a:latin typeface="Arial" panose="020B0604020202020204" pitchFamily="34" charset="0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2D050"/>
              </a:buClr>
              <a:buFont typeface="Wingdings" panose="05000000000000000000" pitchFamily="2" charset="2"/>
              <a:buChar char="ü"/>
            </a:pPr>
            <a:r>
              <a:rPr lang="fr-FR" altLang="fr-FR" sz="1800" dirty="0">
                <a:latin typeface="Arial" panose="020B0604020202020204" pitchFamily="34" charset="0"/>
              </a:rPr>
              <a:t>Développement de toute </a:t>
            </a:r>
            <a:r>
              <a:rPr lang="fr-FR" altLang="fr-FR" sz="1800" b="1" dirty="0">
                <a:solidFill>
                  <a:srgbClr val="FF0000"/>
                </a:solidFill>
                <a:latin typeface="Arial" panose="020B0604020202020204" pitchFamily="34" charset="0"/>
              </a:rPr>
              <a:t>une famille d’alliages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2D050"/>
              </a:buClr>
              <a:buFont typeface="Wingdings" panose="05000000000000000000" pitchFamily="2" charset="2"/>
              <a:buChar char="ü"/>
            </a:pPr>
            <a:endParaRPr lang="fr-FR" altLang="fr-FR" sz="1800" dirty="0">
              <a:latin typeface="Arial" panose="020B0604020202020204" pitchFamily="34" charset="0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2D050"/>
              </a:buClr>
              <a:buFont typeface="Wingdings" panose="05000000000000000000" pitchFamily="2" charset="2"/>
              <a:buChar char="ü"/>
            </a:pPr>
            <a:endParaRPr lang="fr-FR" altLang="fr-FR" sz="1800" dirty="0">
              <a:latin typeface="Arial" panose="020B0604020202020204" pitchFamily="34" charset="0"/>
            </a:endParaRPr>
          </a:p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2D050"/>
              </a:buClr>
              <a:buNone/>
            </a:pPr>
            <a:endParaRPr lang="fr-FR" altLang="fr-FR" sz="1800" dirty="0">
              <a:latin typeface="Arial" panose="020B0604020202020204" pitchFamily="34" charset="0"/>
            </a:endParaRP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572637E2-9279-21ED-F13B-041805F477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Sofcot, Patrick DELABORD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B63FDA98-DA5D-4C0B-E626-2EDD15919A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C276D-B6F8-4D82-8FFC-8C58539E527E}" type="slidenum">
              <a:rPr lang="fr-FR" smtClean="0"/>
              <a:t>3</a:t>
            </a:fld>
            <a:endParaRPr lang="fr-FR" dirty="0"/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9450A8FE-BE71-A97B-472E-B1B10A5260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86719" y="3812177"/>
            <a:ext cx="3866391" cy="2680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01494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31C616E-8E76-F6F4-538C-C5794D9EEEC7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chemeClr val="accent5">
              <a:lumMod val="60000"/>
              <a:lumOff val="40000"/>
            </a:schemeClr>
          </a:solidFill>
        </p:spPr>
        <p:txBody>
          <a:bodyPr/>
          <a:lstStyle/>
          <a:p>
            <a:r>
              <a:rPr lang="fr-FR" dirty="0"/>
              <a:t>Du minerai à l’éponge de Titan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BABE27DE-30F4-0F1D-618C-F4AB3F4B3A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90688"/>
            <a:ext cx="10515600" cy="512063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FR" dirty="0"/>
              <a:t>Le minerai :				</a:t>
            </a:r>
          </a:p>
          <a:p>
            <a:r>
              <a:rPr lang="fr-FR" dirty="0"/>
              <a:t>ilménite (1791)</a:t>
            </a:r>
          </a:p>
          <a:p>
            <a:r>
              <a:rPr lang="fr-FR" dirty="0"/>
              <a:t>Présence 4éme métal, 9</a:t>
            </a:r>
            <a:r>
              <a:rPr lang="fr-FR" baseline="30000" dirty="0"/>
              <a:t>ème</a:t>
            </a:r>
            <a:r>
              <a:rPr lang="fr-FR" dirty="0"/>
              <a:t> élément</a:t>
            </a:r>
          </a:p>
          <a:p>
            <a:pPr marL="0" indent="0">
              <a:buNone/>
            </a:pPr>
            <a:r>
              <a:rPr lang="fr-FR" dirty="0"/>
              <a:t> </a:t>
            </a:r>
          </a:p>
          <a:p>
            <a:pPr marL="0" indent="0">
              <a:buNone/>
            </a:pPr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3E21AF9C-8971-67A8-E7FF-DE059FF7A5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Sofcot, Patrick DELABORD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5D3CD732-88BB-705B-730B-D220F76886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C276D-B6F8-4D82-8FFC-8C58539E527E}" type="slidenum">
              <a:rPr lang="fr-FR" smtClean="0"/>
              <a:t>4</a:t>
            </a:fld>
            <a:endParaRPr lang="fr-FR" dirty="0"/>
          </a:p>
        </p:txBody>
      </p:sp>
      <p:pic>
        <p:nvPicPr>
          <p:cNvPr id="6" name="Picture 2" descr="Ilmenite Concentrate TiO2 min 54% | | Whalesale LLC">
            <a:extLst>
              <a:ext uri="{FF2B5EF4-FFF2-40B4-BE49-F238E27FC236}">
                <a16:creationId xmlns:a16="http://schemas.microsoft.com/office/drawing/2014/main" id="{86ACC600-1218-41FC-73BC-563EBD937C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5703" y="1745011"/>
            <a:ext cx="2651124" cy="13255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73E1419A-F9A1-3B8C-DD26-892FE3B260D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3614583"/>
            <a:ext cx="4884420" cy="3029066"/>
          </a:xfrm>
          <a:prstGeom prst="rect">
            <a:avLst/>
          </a:prstGeom>
        </p:spPr>
      </p:pic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17A3DEE5-1A33-35A4-5BF9-15BF26EA52DA}"/>
              </a:ext>
            </a:extLst>
          </p:cNvPr>
          <p:cNvSpPr txBox="1">
            <a:spLocks/>
          </p:cNvSpPr>
          <p:nvPr/>
        </p:nvSpPr>
        <p:spPr>
          <a:xfrm>
            <a:off x="6290912" y="3614583"/>
            <a:ext cx="5078339" cy="12013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fr-FR" dirty="0"/>
              <a:t>Le process Kroll (1932)</a:t>
            </a:r>
          </a:p>
          <a:p>
            <a:pPr marL="457200" lvl="1" indent="0">
              <a:buFont typeface="Arial" panose="020B0604020202020204" pitchFamily="34" charset="0"/>
              <a:buNone/>
            </a:pPr>
            <a:r>
              <a:rPr lang="en-US" sz="1800" dirty="0"/>
              <a:t>TiO2(s) + 2 C(s) + 2 Cl2(g) → TiCl4(g) + 2 CO(g) </a:t>
            </a:r>
          </a:p>
          <a:p>
            <a:pPr marL="457200" lvl="1" indent="0">
              <a:buFont typeface="Arial" panose="020B0604020202020204" pitchFamily="34" charset="0"/>
              <a:buNone/>
            </a:pPr>
            <a:r>
              <a:rPr lang="en-US" sz="1800" dirty="0"/>
              <a:t>TiCl4 (g) + 2 Mg (l) → 2MgCl2 (l) + </a:t>
            </a:r>
            <a:r>
              <a:rPr lang="en-US" sz="1800" dirty="0" err="1"/>
              <a:t>Ti</a:t>
            </a:r>
            <a:r>
              <a:rPr lang="en-US" sz="1800" dirty="0"/>
              <a:t> (s)</a:t>
            </a:r>
            <a:endParaRPr lang="fr-FR" dirty="0"/>
          </a:p>
        </p:txBody>
      </p:sp>
      <p:sp>
        <p:nvSpPr>
          <p:cNvPr id="9" name="Espace réservé du contenu 2">
            <a:extLst>
              <a:ext uri="{FF2B5EF4-FFF2-40B4-BE49-F238E27FC236}">
                <a16:creationId xmlns:a16="http://schemas.microsoft.com/office/drawing/2014/main" id="{DCEF10ED-BA9A-F17B-A77A-BEC6D80B3FB0}"/>
              </a:ext>
            </a:extLst>
          </p:cNvPr>
          <p:cNvSpPr txBox="1">
            <a:spLocks/>
          </p:cNvSpPr>
          <p:nvPr/>
        </p:nvSpPr>
        <p:spPr>
          <a:xfrm>
            <a:off x="838200" y="3154977"/>
            <a:ext cx="10515600" cy="698522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fr-FR" b="1" dirty="0">
                <a:solidFill>
                  <a:srgbClr val="FF0000"/>
                </a:solidFill>
              </a:rPr>
              <a:t>140 ans pour mettre au point un process de réduction des oxydes de Titane</a:t>
            </a:r>
            <a:endParaRPr lang="fr-FR" dirty="0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A5A7B88F-DFB5-C964-2625-A7A23FBC8C0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64916" y="4835803"/>
            <a:ext cx="2219472" cy="1657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0224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9D65A2C-EDD3-97B3-0522-280FDC321961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chemeClr val="accent5">
              <a:lumMod val="40000"/>
              <a:lumOff val="60000"/>
            </a:schemeClr>
          </a:solidFill>
        </p:spPr>
        <p:txBody>
          <a:bodyPr/>
          <a:lstStyle/>
          <a:p>
            <a:r>
              <a:rPr lang="fr-FR" dirty="0"/>
              <a:t>De l’éponge de Titane au Lingot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B2501A76-D7E2-BFBD-0C3F-EB9D6994F7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Sofcot, Patrick DELABORD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8826F7B8-0883-2DF4-A4EF-FA9FF8B658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C276D-B6F8-4D82-8FFC-8C58539E527E}" type="slidenum">
              <a:rPr lang="fr-FR" smtClean="0"/>
              <a:t>5</a:t>
            </a:fld>
            <a:endParaRPr lang="fr-FR" dirty="0"/>
          </a:p>
        </p:txBody>
      </p:sp>
      <p:pic>
        <p:nvPicPr>
          <p:cNvPr id="6" name="Picture 4" descr="DSC_1967.JPG">
            <a:extLst>
              <a:ext uri="{FF2B5EF4-FFF2-40B4-BE49-F238E27FC236}">
                <a16:creationId xmlns:a16="http://schemas.microsoft.com/office/drawing/2014/main" id="{57BD6AE9-5F34-EB84-B84A-2F0D4DB2AF2F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38200" y="1690688"/>
            <a:ext cx="3172916" cy="211321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Picture 5" descr="DSC_2121.JPG">
            <a:extLst>
              <a:ext uri="{FF2B5EF4-FFF2-40B4-BE49-F238E27FC236}">
                <a16:creationId xmlns:a16="http://schemas.microsoft.com/office/drawing/2014/main" id="{B4939968-2E1A-35C5-DBE7-E0321D894CAA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335817" y="1704589"/>
            <a:ext cx="3172916" cy="211321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Picture 2" descr="S:\os\powerpoint\PICTURES\06 04 Melting shop PLASMA WELDER\Copy of DSC_1964.JPG">
            <a:extLst>
              <a:ext uri="{FF2B5EF4-FFF2-40B4-BE49-F238E27FC236}">
                <a16:creationId xmlns:a16="http://schemas.microsoft.com/office/drawing/2014/main" id="{E38E8F78-EA01-9495-20BE-3DAEAB0CD7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180883" y="1704589"/>
            <a:ext cx="3172917" cy="21132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Picture 4" descr="Foto_001.JPG">
            <a:extLst>
              <a:ext uri="{FF2B5EF4-FFF2-40B4-BE49-F238E27FC236}">
                <a16:creationId xmlns:a16="http://schemas.microsoft.com/office/drawing/2014/main" id="{B62A48C4-8FE6-6623-7C9A-EABC62EA56F7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838200" y="4071306"/>
            <a:ext cx="3172916" cy="211631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id="{108D3433-5B0E-FCB2-4679-522D9E384B38}"/>
              </a:ext>
            </a:extLst>
          </p:cNvPr>
          <p:cNvSpPr txBox="1"/>
          <p:nvPr/>
        </p:nvSpPr>
        <p:spPr>
          <a:xfrm>
            <a:off x="2180417" y="6438151"/>
            <a:ext cx="45162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Photos : Merci à la société UKTMP, Kazakhstan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D9EB8B61-EBB8-CE8A-BC29-051A7E47EA7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8928" y="3927404"/>
            <a:ext cx="2327725" cy="2524648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C003DB86-9EBE-FE1C-5201-4A7C38D4195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563470" y="4543189"/>
            <a:ext cx="2291622" cy="1289038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74F6D7BE-98F0-D435-3BD8-905E3257BB0A}"/>
              </a:ext>
            </a:extLst>
          </p:cNvPr>
          <p:cNvSpPr txBox="1"/>
          <p:nvPr/>
        </p:nvSpPr>
        <p:spPr>
          <a:xfrm>
            <a:off x="6787662" y="4041897"/>
            <a:ext cx="300696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/>
              <a:t>Elaboration de lingots d’alliages de titane par la voie double fusion VAR 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Première fusion de consolid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Seconde refusion d’affinage</a:t>
            </a:r>
          </a:p>
        </p:txBody>
      </p:sp>
    </p:spTree>
    <p:extLst>
      <p:ext uri="{BB962C8B-B14F-4D97-AF65-F5344CB8AC3E}">
        <p14:creationId xmlns:p14="http://schemas.microsoft.com/office/powerpoint/2010/main" val="3668110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C0E6EF9-3A88-3D3E-D693-210FE95FA353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chemeClr val="accent5">
              <a:lumMod val="20000"/>
              <a:lumOff val="80000"/>
            </a:schemeClr>
          </a:solidFill>
        </p:spPr>
        <p:txBody>
          <a:bodyPr/>
          <a:lstStyle/>
          <a:p>
            <a:r>
              <a:rPr lang="fr-FR" dirty="0"/>
              <a:t>Du lingot aux demi-produits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80CB8EA2-197D-3203-C270-55B0242D20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Sofcot, Patrick DELABORD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BD531C4-15D5-731C-98EC-40365D1024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C276D-B6F8-4D82-8FFC-8C58539E527E}" type="slidenum">
              <a:rPr lang="fr-FR" smtClean="0"/>
              <a:t>6</a:t>
            </a:fld>
            <a:endParaRPr lang="fr-FR" dirty="0"/>
          </a:p>
        </p:txBody>
      </p:sp>
      <p:pic>
        <p:nvPicPr>
          <p:cNvPr id="17" name="#~000000000000030000000000000000" descr="c:\pegaseimage.jpg">
            <a:extLst>
              <a:ext uri="{FF2B5EF4-FFF2-40B4-BE49-F238E27FC236}">
                <a16:creationId xmlns:a16="http://schemas.microsoft.com/office/drawing/2014/main" id="{811704D5-C0B5-E639-422F-E0F64453AC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r:link="rId4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0990" y="2197608"/>
            <a:ext cx="1717589" cy="1303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ZoneTexte 17">
            <a:extLst>
              <a:ext uri="{FF2B5EF4-FFF2-40B4-BE49-F238E27FC236}">
                <a16:creationId xmlns:a16="http://schemas.microsoft.com/office/drawing/2014/main" id="{D166A7BA-8E44-0D5C-4903-420B196C3DA9}"/>
              </a:ext>
            </a:extLst>
          </p:cNvPr>
          <p:cNvSpPr txBox="1"/>
          <p:nvPr/>
        </p:nvSpPr>
        <p:spPr>
          <a:xfrm>
            <a:off x="838201" y="1690689"/>
            <a:ext cx="10515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rgbClr val="FF0000"/>
                </a:solidFill>
              </a:rPr>
              <a:t>L’ Art du Forgeron   : Comment passer de grains centimétriques à des grains micrométriques.</a:t>
            </a: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D5A77743-2ACB-3A1E-9E35-D8037A8289A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0959" y="2277160"/>
            <a:ext cx="1960402" cy="1303643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A5B016D0-DEA8-2721-2A48-DF746ADBE3C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228" y="4276899"/>
            <a:ext cx="747032" cy="1303643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759D63A6-DC71-17E4-6C9B-C2430C1FC10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8515" y="4530112"/>
            <a:ext cx="973177" cy="1274397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29ED0282-98A8-665A-E54E-24BFA8A5FEF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3199" y="5551296"/>
            <a:ext cx="1068477" cy="1104225"/>
          </a:xfrm>
          <a:prstGeom prst="rect">
            <a:avLst/>
          </a:prstGeom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8761B302-7A09-76B0-BC96-D8770F54C3A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1795" y="3604254"/>
            <a:ext cx="1979842" cy="911897"/>
          </a:xfrm>
          <a:prstGeom prst="rect">
            <a:avLst/>
          </a:prstGeom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AEC56023-E4CF-EADB-84A2-F685260E191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5566" y="3797942"/>
            <a:ext cx="1048174" cy="1743780"/>
          </a:xfrm>
          <a:prstGeom prst="rect">
            <a:avLst/>
          </a:prstGeom>
        </p:spPr>
      </p:pic>
      <p:pic>
        <p:nvPicPr>
          <p:cNvPr id="26" name="Image 25">
            <a:extLst>
              <a:ext uri="{FF2B5EF4-FFF2-40B4-BE49-F238E27FC236}">
                <a16:creationId xmlns:a16="http://schemas.microsoft.com/office/drawing/2014/main" id="{046B4496-904C-C99E-4835-2873923631F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7631" y="3468653"/>
            <a:ext cx="1021445" cy="892654"/>
          </a:xfrm>
          <a:prstGeom prst="rect">
            <a:avLst/>
          </a:prstGeom>
        </p:spPr>
      </p:pic>
      <p:pic>
        <p:nvPicPr>
          <p:cNvPr id="27" name="Image 26">
            <a:extLst>
              <a:ext uri="{FF2B5EF4-FFF2-40B4-BE49-F238E27FC236}">
                <a16:creationId xmlns:a16="http://schemas.microsoft.com/office/drawing/2014/main" id="{A7C5C960-D4DD-5A8E-3FE8-1D9CA909AE7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897631" y="4535936"/>
            <a:ext cx="1054978" cy="857764"/>
          </a:xfrm>
          <a:prstGeom prst="rect">
            <a:avLst/>
          </a:prstGeom>
        </p:spPr>
      </p:pic>
      <p:pic>
        <p:nvPicPr>
          <p:cNvPr id="28" name="Image 27">
            <a:extLst>
              <a:ext uri="{FF2B5EF4-FFF2-40B4-BE49-F238E27FC236}">
                <a16:creationId xmlns:a16="http://schemas.microsoft.com/office/drawing/2014/main" id="{9DC70F31-9E9D-F51A-64FE-6F0EA8BFA71F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flipH="1">
            <a:off x="6880551" y="5681148"/>
            <a:ext cx="1075848" cy="722213"/>
          </a:xfrm>
          <a:prstGeom prst="rect">
            <a:avLst/>
          </a:prstGeom>
        </p:spPr>
      </p:pic>
      <p:pic>
        <p:nvPicPr>
          <p:cNvPr id="30" name="Image 29">
            <a:extLst>
              <a:ext uri="{FF2B5EF4-FFF2-40B4-BE49-F238E27FC236}">
                <a16:creationId xmlns:a16="http://schemas.microsoft.com/office/drawing/2014/main" id="{0C2B7617-0534-A5E9-02F4-57E10F720382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7129" y="4493187"/>
            <a:ext cx="1623812" cy="1255332"/>
          </a:xfrm>
          <a:prstGeom prst="rect">
            <a:avLst/>
          </a:prstGeom>
        </p:spPr>
      </p:pic>
      <p:sp>
        <p:nvSpPr>
          <p:cNvPr id="31" name="Flèche : droite 30">
            <a:extLst>
              <a:ext uri="{FF2B5EF4-FFF2-40B4-BE49-F238E27FC236}">
                <a16:creationId xmlns:a16="http://schemas.microsoft.com/office/drawing/2014/main" id="{24CE9691-9B21-093B-E01E-776407D8081D}"/>
              </a:ext>
            </a:extLst>
          </p:cNvPr>
          <p:cNvSpPr/>
          <p:nvPr/>
        </p:nvSpPr>
        <p:spPr>
          <a:xfrm rot="1890413">
            <a:off x="1121078" y="4959174"/>
            <a:ext cx="477306" cy="323360"/>
          </a:xfrm>
          <a:prstGeom prst="rightArrow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3" name="Flèche : droite 32">
            <a:extLst>
              <a:ext uri="{FF2B5EF4-FFF2-40B4-BE49-F238E27FC236}">
                <a16:creationId xmlns:a16="http://schemas.microsoft.com/office/drawing/2014/main" id="{6E1E7A2B-13DC-60E5-D116-CBA80F40F90D}"/>
              </a:ext>
            </a:extLst>
          </p:cNvPr>
          <p:cNvSpPr/>
          <p:nvPr/>
        </p:nvSpPr>
        <p:spPr>
          <a:xfrm rot="20967748">
            <a:off x="4303518" y="5000604"/>
            <a:ext cx="727955" cy="120249"/>
          </a:xfrm>
          <a:prstGeom prst="rightArrow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5" name="Flèche : droite 34">
            <a:extLst>
              <a:ext uri="{FF2B5EF4-FFF2-40B4-BE49-F238E27FC236}">
                <a16:creationId xmlns:a16="http://schemas.microsoft.com/office/drawing/2014/main" id="{755593EB-4E44-4DF7-E014-6EBCBF7DC974}"/>
              </a:ext>
            </a:extLst>
          </p:cNvPr>
          <p:cNvSpPr/>
          <p:nvPr/>
        </p:nvSpPr>
        <p:spPr>
          <a:xfrm rot="20695787">
            <a:off x="2648243" y="5082227"/>
            <a:ext cx="477306" cy="264339"/>
          </a:xfrm>
          <a:prstGeom prst="rightArrow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6" name="Flèche : droite 35">
            <a:extLst>
              <a:ext uri="{FF2B5EF4-FFF2-40B4-BE49-F238E27FC236}">
                <a16:creationId xmlns:a16="http://schemas.microsoft.com/office/drawing/2014/main" id="{CA8CFCA7-F25E-0455-71C4-E1E0EE4409FD}"/>
              </a:ext>
            </a:extLst>
          </p:cNvPr>
          <p:cNvSpPr/>
          <p:nvPr/>
        </p:nvSpPr>
        <p:spPr>
          <a:xfrm rot="18941386">
            <a:off x="2319923" y="4479328"/>
            <a:ext cx="1734506" cy="291576"/>
          </a:xfrm>
          <a:prstGeom prst="rightArrow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7" name="Flèche : droite 36">
            <a:extLst>
              <a:ext uri="{FF2B5EF4-FFF2-40B4-BE49-F238E27FC236}">
                <a16:creationId xmlns:a16="http://schemas.microsoft.com/office/drawing/2014/main" id="{1C2E6A10-CC0C-6371-6833-B711DBBB00B8}"/>
              </a:ext>
            </a:extLst>
          </p:cNvPr>
          <p:cNvSpPr/>
          <p:nvPr/>
        </p:nvSpPr>
        <p:spPr>
          <a:xfrm rot="2044461">
            <a:off x="4089601" y="5519530"/>
            <a:ext cx="1483040" cy="195401"/>
          </a:xfrm>
          <a:prstGeom prst="rightArrow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89A50941-9F0A-A01B-0CBA-D7FD8AD6929C}"/>
              </a:ext>
            </a:extLst>
          </p:cNvPr>
          <p:cNvSpPr txBox="1"/>
          <p:nvPr/>
        </p:nvSpPr>
        <p:spPr>
          <a:xfrm>
            <a:off x="8424777" y="2094737"/>
            <a:ext cx="268476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Les demi-produits sont livrés vers les industriels du médical et leur sous-traitants.</a:t>
            </a:r>
          </a:p>
        </p:txBody>
      </p:sp>
      <p:pic>
        <p:nvPicPr>
          <p:cNvPr id="39" name="Image 38">
            <a:extLst>
              <a:ext uri="{FF2B5EF4-FFF2-40B4-BE49-F238E27FC236}">
                <a16:creationId xmlns:a16="http://schemas.microsoft.com/office/drawing/2014/main" id="{18E30846-2628-8EDE-7ABD-ECFD3D14AF09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99072" y="5024722"/>
            <a:ext cx="1294893" cy="1260860"/>
          </a:xfrm>
          <a:prstGeom prst="rect">
            <a:avLst/>
          </a:prstGeom>
        </p:spPr>
      </p:pic>
      <p:sp>
        <p:nvSpPr>
          <p:cNvPr id="40" name="Flèche : droite 39">
            <a:extLst>
              <a:ext uri="{FF2B5EF4-FFF2-40B4-BE49-F238E27FC236}">
                <a16:creationId xmlns:a16="http://schemas.microsoft.com/office/drawing/2014/main" id="{E47651CF-0F2C-E5F1-7382-7ECED9BFF811}"/>
              </a:ext>
            </a:extLst>
          </p:cNvPr>
          <p:cNvSpPr/>
          <p:nvPr/>
        </p:nvSpPr>
        <p:spPr>
          <a:xfrm rot="21160123">
            <a:off x="8082793" y="5175228"/>
            <a:ext cx="1886094" cy="138265"/>
          </a:xfrm>
          <a:prstGeom prst="rightArrow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1" name="Flèche : droite 40">
            <a:extLst>
              <a:ext uri="{FF2B5EF4-FFF2-40B4-BE49-F238E27FC236}">
                <a16:creationId xmlns:a16="http://schemas.microsoft.com/office/drawing/2014/main" id="{45560E4F-8BFC-348C-E61C-23D8BEBF448B}"/>
              </a:ext>
            </a:extLst>
          </p:cNvPr>
          <p:cNvSpPr/>
          <p:nvPr/>
        </p:nvSpPr>
        <p:spPr>
          <a:xfrm rot="20967748">
            <a:off x="4455918" y="5153004"/>
            <a:ext cx="727955" cy="120249"/>
          </a:xfrm>
          <a:prstGeom prst="rightArrow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2" name="ZoneTexte 41">
            <a:extLst>
              <a:ext uri="{FF2B5EF4-FFF2-40B4-BE49-F238E27FC236}">
                <a16:creationId xmlns:a16="http://schemas.microsoft.com/office/drawing/2014/main" id="{295E991D-80EA-AAEE-A890-92C202B4E127}"/>
              </a:ext>
            </a:extLst>
          </p:cNvPr>
          <p:cNvSpPr txBox="1"/>
          <p:nvPr/>
        </p:nvSpPr>
        <p:spPr>
          <a:xfrm>
            <a:off x="9486922" y="4175948"/>
            <a:ext cx="26847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Alimentation de la filière poudre en fils, ou barres.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0444EC79-03A3-5426-CADD-8FAF11AF925F}"/>
              </a:ext>
            </a:extLst>
          </p:cNvPr>
          <p:cNvSpPr txBox="1"/>
          <p:nvPr/>
        </p:nvSpPr>
        <p:spPr>
          <a:xfrm>
            <a:off x="6531676" y="2463379"/>
            <a:ext cx="155000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accent6"/>
                </a:solidFill>
              </a:rPr>
              <a:t>Rendements de l’ordre de 65%</a:t>
            </a:r>
          </a:p>
        </p:txBody>
      </p:sp>
    </p:spTree>
    <p:extLst>
      <p:ext uri="{BB962C8B-B14F-4D97-AF65-F5344CB8AC3E}">
        <p14:creationId xmlns:p14="http://schemas.microsoft.com/office/powerpoint/2010/main" val="36884500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C0E6EF9-3A88-3D3E-D693-210FE95FA353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chemeClr val="tx2">
              <a:lumMod val="20000"/>
              <a:lumOff val="80000"/>
            </a:schemeClr>
          </a:solidFill>
        </p:spPr>
        <p:txBody>
          <a:bodyPr/>
          <a:lstStyle/>
          <a:p>
            <a:r>
              <a:rPr lang="fr-FR" dirty="0"/>
              <a:t>Le recyclage du Titane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80CB8EA2-197D-3203-C270-55B0242D20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 err="1"/>
              <a:t>Sofcot</a:t>
            </a:r>
            <a:r>
              <a:rPr lang="fr-FR" dirty="0"/>
              <a:t>, Patrick DELABORD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BD531C4-15D5-731C-98EC-40365D1024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C276D-B6F8-4D82-8FFC-8C58539E527E}" type="slidenum">
              <a:rPr lang="fr-FR" smtClean="0"/>
              <a:t>7</a:t>
            </a:fld>
            <a:endParaRPr lang="fr-FR" dirty="0"/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D166A7BA-8E44-0D5C-4903-420B196C3DA9}"/>
              </a:ext>
            </a:extLst>
          </p:cNvPr>
          <p:cNvSpPr txBox="1"/>
          <p:nvPr/>
        </p:nvSpPr>
        <p:spPr>
          <a:xfrm>
            <a:off x="838201" y="1690689"/>
            <a:ext cx="105156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200" b="1" dirty="0">
                <a:solidFill>
                  <a:srgbClr val="FF0000"/>
                </a:solidFill>
              </a:rPr>
              <a:t>Les chutes et sous-produits ne sont pas des déchets, mais de la matière première !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372F6F52-471A-1255-E29B-CBC93E35B8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3544" y="2165018"/>
            <a:ext cx="5140861" cy="2793453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79FD000D-AC0E-DE25-DA1E-C9A54DEFEBE5}"/>
              </a:ext>
            </a:extLst>
          </p:cNvPr>
          <p:cNvSpPr txBox="1"/>
          <p:nvPr/>
        </p:nvSpPr>
        <p:spPr>
          <a:xfrm>
            <a:off x="838200" y="3285727"/>
            <a:ext cx="2393244" cy="147732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fr-FR" dirty="0"/>
              <a:t>Matières à recycler 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Bout de barr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Copeau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Pièces écarté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Pièces en fin de vie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B37A6498-5830-D737-6400-6966406D4958}"/>
              </a:ext>
            </a:extLst>
          </p:cNvPr>
          <p:cNvSpPr txBox="1"/>
          <p:nvPr/>
        </p:nvSpPr>
        <p:spPr>
          <a:xfrm>
            <a:off x="838200" y="4804600"/>
            <a:ext cx="2393244" cy="92333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fr-FR" dirty="0"/>
              <a:t>Matières de Synthèse 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Epong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Master </a:t>
            </a:r>
            <a:r>
              <a:rPr lang="fr-FR" dirty="0" err="1"/>
              <a:t>alloys</a:t>
            </a:r>
            <a:endParaRPr lang="fr-FR" dirty="0"/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04D0353F-7D31-3F2C-3366-88D35B20D90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821724" y="4077806"/>
            <a:ext cx="1961057" cy="1103095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BE5EFA77-C5F2-9D67-5388-2E6A14FA9EB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5079" y="4800652"/>
            <a:ext cx="1620788" cy="1890919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20464E25-7CE2-1D7C-3EFF-51396E61ED8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6430" y="2165018"/>
            <a:ext cx="2366728" cy="1440313"/>
          </a:xfrm>
          <a:prstGeom prst="rect">
            <a:avLst/>
          </a:prstGeom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710FE4FE-E585-F4A4-B098-A21E1AD7EBBB}"/>
              </a:ext>
            </a:extLst>
          </p:cNvPr>
          <p:cNvSpPr txBox="1"/>
          <p:nvPr/>
        </p:nvSpPr>
        <p:spPr>
          <a:xfrm>
            <a:off x="7335468" y="1983203"/>
            <a:ext cx="149013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Four Plasma</a:t>
            </a:r>
          </a:p>
          <a:p>
            <a:r>
              <a:rPr lang="fr-FR" dirty="0"/>
              <a:t>PAM-CHR</a:t>
            </a:r>
            <a:br>
              <a:rPr lang="fr-FR" dirty="0"/>
            </a:br>
            <a:r>
              <a:rPr lang="fr-FR" i="1" dirty="0" err="1"/>
              <a:t>Ecotitanium</a:t>
            </a:r>
            <a:endParaRPr lang="fr-FR" i="1" dirty="0"/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FC7C5910-676A-D090-F878-00DD3A59C292}"/>
              </a:ext>
            </a:extLst>
          </p:cNvPr>
          <p:cNvSpPr txBox="1"/>
          <p:nvPr/>
        </p:nvSpPr>
        <p:spPr>
          <a:xfrm>
            <a:off x="7009764" y="5718335"/>
            <a:ext cx="207779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Four </a:t>
            </a:r>
            <a:r>
              <a:rPr lang="fr-FR" dirty="0" err="1"/>
              <a:t>Skull</a:t>
            </a:r>
            <a:r>
              <a:rPr lang="fr-FR" dirty="0"/>
              <a:t> </a:t>
            </a:r>
            <a:br>
              <a:rPr lang="fr-FR" dirty="0"/>
            </a:br>
            <a:r>
              <a:rPr lang="fr-FR" i="1" dirty="0"/>
              <a:t>Technologie russe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98176EC8-9816-D6C2-594C-D76C68F3081A}"/>
              </a:ext>
            </a:extLst>
          </p:cNvPr>
          <p:cNvSpPr txBox="1"/>
          <p:nvPr/>
        </p:nvSpPr>
        <p:spPr>
          <a:xfrm>
            <a:off x="3231444" y="3285728"/>
            <a:ext cx="934156" cy="147732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fr-FR" dirty="0"/>
          </a:p>
          <a:p>
            <a:endParaRPr lang="fr-FR" dirty="0"/>
          </a:p>
          <a:p>
            <a:pPr algn="ctr"/>
            <a:r>
              <a:rPr lang="fr-FR" dirty="0"/>
              <a:t>80%</a:t>
            </a:r>
          </a:p>
          <a:p>
            <a:pPr algn="ctr"/>
            <a:endParaRPr lang="fr-FR" dirty="0"/>
          </a:p>
          <a:p>
            <a:pPr algn="ctr"/>
            <a:endParaRPr lang="fr-FR" dirty="0"/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5734C97A-F249-FF73-4C3C-9CC2EFC80A33}"/>
              </a:ext>
            </a:extLst>
          </p:cNvPr>
          <p:cNvSpPr txBox="1"/>
          <p:nvPr/>
        </p:nvSpPr>
        <p:spPr>
          <a:xfrm>
            <a:off x="3231444" y="4805438"/>
            <a:ext cx="934156" cy="92333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fr-FR" dirty="0"/>
          </a:p>
          <a:p>
            <a:pPr algn="ctr"/>
            <a:r>
              <a:rPr lang="fr-FR" dirty="0"/>
              <a:t>20%</a:t>
            </a:r>
          </a:p>
          <a:p>
            <a:pPr algn="ctr"/>
            <a:endParaRPr lang="fr-FR" dirty="0"/>
          </a:p>
        </p:txBody>
      </p:sp>
      <p:sp>
        <p:nvSpPr>
          <p:cNvPr id="21" name="Accolade fermante 20">
            <a:extLst>
              <a:ext uri="{FF2B5EF4-FFF2-40B4-BE49-F238E27FC236}">
                <a16:creationId xmlns:a16="http://schemas.microsoft.com/office/drawing/2014/main" id="{8C936083-2CDA-A75D-FBC9-9F9CBAA050B7}"/>
              </a:ext>
            </a:extLst>
          </p:cNvPr>
          <p:cNvSpPr/>
          <p:nvPr/>
        </p:nvSpPr>
        <p:spPr>
          <a:xfrm>
            <a:off x="4262278" y="3285727"/>
            <a:ext cx="547381" cy="2442203"/>
          </a:xfrm>
          <a:prstGeom prst="rightBrace">
            <a:avLst>
              <a:gd name="adj1" fmla="val 8333"/>
              <a:gd name="adj2" fmla="val 50462"/>
            </a:avLst>
          </a:prstGeom>
          <a:ln w="635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3386FD99-2F9B-8992-5664-3E133A3B3BD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5601" y="4447155"/>
            <a:ext cx="1078180" cy="1169393"/>
          </a:xfrm>
          <a:prstGeom prst="rect">
            <a:avLst/>
          </a:prstGeom>
        </p:spPr>
      </p:pic>
      <p:sp>
        <p:nvSpPr>
          <p:cNvPr id="23" name="Flèche : droite 22">
            <a:extLst>
              <a:ext uri="{FF2B5EF4-FFF2-40B4-BE49-F238E27FC236}">
                <a16:creationId xmlns:a16="http://schemas.microsoft.com/office/drawing/2014/main" id="{D80AF2D4-26B1-65F3-22FA-546A9D8BB0B0}"/>
              </a:ext>
            </a:extLst>
          </p:cNvPr>
          <p:cNvSpPr/>
          <p:nvPr/>
        </p:nvSpPr>
        <p:spPr>
          <a:xfrm rot="20967748">
            <a:off x="7080991" y="5268556"/>
            <a:ext cx="1546731" cy="313556"/>
          </a:xfrm>
          <a:prstGeom prst="rightArrow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4" name="Flèche : droite 23">
            <a:extLst>
              <a:ext uri="{FF2B5EF4-FFF2-40B4-BE49-F238E27FC236}">
                <a16:creationId xmlns:a16="http://schemas.microsoft.com/office/drawing/2014/main" id="{9073D618-7A0C-F084-1EF7-B8A4A753F979}"/>
              </a:ext>
            </a:extLst>
          </p:cNvPr>
          <p:cNvSpPr/>
          <p:nvPr/>
        </p:nvSpPr>
        <p:spPr>
          <a:xfrm rot="1055503">
            <a:off x="7101040" y="4457539"/>
            <a:ext cx="1546731" cy="313556"/>
          </a:xfrm>
          <a:prstGeom prst="rightArrow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07B71375-F11A-395F-9A23-75C78F43A71E}"/>
              </a:ext>
            </a:extLst>
          </p:cNvPr>
          <p:cNvSpPr txBox="1"/>
          <p:nvPr/>
        </p:nvSpPr>
        <p:spPr>
          <a:xfrm>
            <a:off x="9532170" y="5734929"/>
            <a:ext cx="207779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 dirty="0">
                <a:solidFill>
                  <a:schemeClr val="accent6"/>
                </a:solidFill>
              </a:rPr>
              <a:t>Le titane se recycle à l’infini.</a:t>
            </a:r>
          </a:p>
        </p:txBody>
      </p:sp>
    </p:spTree>
    <p:extLst>
      <p:ext uri="{BB962C8B-B14F-4D97-AF65-F5344CB8AC3E}">
        <p14:creationId xmlns:p14="http://schemas.microsoft.com/office/powerpoint/2010/main" val="41226454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C0E6EF9-3A88-3D3E-D693-210FE95FA353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chemeClr val="accent6">
              <a:lumMod val="40000"/>
              <a:lumOff val="60000"/>
            </a:schemeClr>
          </a:solidFill>
        </p:spPr>
        <p:txBody>
          <a:bodyPr/>
          <a:lstStyle/>
          <a:p>
            <a:r>
              <a:rPr lang="fr-FR" dirty="0"/>
              <a:t>Intérêt du recyclage du Titane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80CB8EA2-197D-3203-C270-55B0242D20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Sofcot, Patrick DELABORD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BD531C4-15D5-731C-98EC-40365D1024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C276D-B6F8-4D82-8FFC-8C58539E527E}" type="slidenum">
              <a:rPr lang="fr-FR" smtClean="0"/>
              <a:t>8</a:t>
            </a:fld>
            <a:endParaRPr lang="fr-FR" dirty="0"/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D166A7BA-8E44-0D5C-4903-420B196C3DA9}"/>
              </a:ext>
            </a:extLst>
          </p:cNvPr>
          <p:cNvSpPr txBox="1"/>
          <p:nvPr/>
        </p:nvSpPr>
        <p:spPr>
          <a:xfrm>
            <a:off x="3457576" y="1690688"/>
            <a:ext cx="7896224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dirty="0">
                <a:solidFill>
                  <a:srgbClr val="FF0000"/>
                </a:solidFill>
              </a:rPr>
              <a:t>Les chutes, les sous –produits, les produits écartés, les produits en fin de vie ne </a:t>
            </a:r>
            <a:r>
              <a:rPr lang="fr-FR" sz="2000" b="1" dirty="0">
                <a:solidFill>
                  <a:srgbClr val="FF0000"/>
                </a:solidFill>
              </a:rPr>
              <a:t>sont pas des déchets, mais de la matière première !</a:t>
            </a:r>
          </a:p>
          <a:p>
            <a:endParaRPr lang="fr-FR" sz="2000" b="1" dirty="0">
              <a:solidFill>
                <a:srgbClr val="FF0000"/>
              </a:solidFill>
            </a:endParaRPr>
          </a:p>
          <a:p>
            <a:r>
              <a:rPr lang="fr-FR" sz="2000" b="1" dirty="0">
                <a:solidFill>
                  <a:srgbClr val="FF0000"/>
                </a:solidFill>
              </a:rPr>
              <a:t>Economie circulaire </a:t>
            </a:r>
            <a:r>
              <a:rPr lang="fr-FR" sz="2000" dirty="0">
                <a:solidFill>
                  <a:srgbClr val="FF0000"/>
                </a:solidFill>
              </a:rPr>
              <a:t>(ressources naturelles, géopolitique, et efficience économique).</a:t>
            </a:r>
          </a:p>
          <a:p>
            <a:endParaRPr lang="fr-FR" sz="2000" dirty="0">
              <a:solidFill>
                <a:srgbClr val="FF0000"/>
              </a:solidFill>
            </a:endParaRPr>
          </a:p>
          <a:p>
            <a:r>
              <a:rPr lang="fr-FR" sz="2000" dirty="0">
                <a:solidFill>
                  <a:srgbClr val="FF0000"/>
                </a:solidFill>
              </a:rPr>
              <a:t>Le titane </a:t>
            </a:r>
            <a:r>
              <a:rPr lang="fr-FR" sz="2000" b="1" dirty="0">
                <a:solidFill>
                  <a:srgbClr val="FF0000"/>
                </a:solidFill>
              </a:rPr>
              <a:t>se recycle à l’infini.</a:t>
            </a:r>
          </a:p>
          <a:p>
            <a:endParaRPr lang="fr-FR" sz="2000" b="1" dirty="0">
              <a:solidFill>
                <a:srgbClr val="FF0000"/>
              </a:solidFill>
            </a:endParaRPr>
          </a:p>
          <a:p>
            <a:r>
              <a:rPr lang="fr-FR" sz="2000" b="1" dirty="0">
                <a:solidFill>
                  <a:srgbClr val="FF0000"/>
                </a:solidFill>
              </a:rPr>
              <a:t>Préparation rigoureuse </a:t>
            </a:r>
            <a:r>
              <a:rPr lang="fr-FR" sz="2000" dirty="0">
                <a:solidFill>
                  <a:srgbClr val="FF0000"/>
                </a:solidFill>
              </a:rPr>
              <a:t>des matières à recycler avec des </a:t>
            </a:r>
            <a:r>
              <a:rPr lang="fr-FR" sz="2000" b="1" dirty="0">
                <a:solidFill>
                  <a:srgbClr val="FF0000"/>
                </a:solidFill>
              </a:rPr>
              <a:t>circuits spécifiques au titane</a:t>
            </a:r>
            <a:r>
              <a:rPr lang="fr-FR" sz="2000" dirty="0">
                <a:solidFill>
                  <a:srgbClr val="FF0000"/>
                </a:solidFill>
              </a:rPr>
              <a:t>.</a:t>
            </a:r>
          </a:p>
          <a:p>
            <a:endParaRPr lang="fr-FR" sz="2000" b="1" dirty="0">
              <a:solidFill>
                <a:srgbClr val="FF0000"/>
              </a:solidFill>
            </a:endParaRPr>
          </a:p>
          <a:p>
            <a:r>
              <a:rPr lang="fr-FR" sz="2000" dirty="0">
                <a:solidFill>
                  <a:srgbClr val="FF0000"/>
                </a:solidFill>
              </a:rPr>
              <a:t>Impact environnemental (</a:t>
            </a:r>
            <a:r>
              <a:rPr lang="fr-FR" sz="2000" b="1" dirty="0">
                <a:solidFill>
                  <a:schemeClr val="accent6"/>
                </a:solidFill>
              </a:rPr>
              <a:t>gain de 75 % des GES, NRJ</a:t>
            </a:r>
            <a:r>
              <a:rPr lang="fr-FR" sz="2000" dirty="0">
                <a:solidFill>
                  <a:srgbClr val="FF0000"/>
                </a:solidFill>
              </a:rPr>
              <a:t>) pour un lingot recyclé versus synthèse.</a:t>
            </a:r>
            <a:r>
              <a:rPr lang="fr-FR" sz="2000" b="1" dirty="0">
                <a:solidFill>
                  <a:srgbClr val="FF0000"/>
                </a:solidFill>
              </a:rPr>
              <a:t> </a:t>
            </a:r>
            <a:r>
              <a:rPr lang="fr-FR" sz="2000" dirty="0">
                <a:solidFill>
                  <a:srgbClr val="FF0000"/>
                </a:solidFill>
              </a:rPr>
              <a:t>Améliorable par</a:t>
            </a:r>
            <a:r>
              <a:rPr lang="fr-FR" sz="2000" b="1" dirty="0">
                <a:solidFill>
                  <a:srgbClr val="FF0000"/>
                </a:solidFill>
              </a:rPr>
              <a:t> </a:t>
            </a:r>
            <a:r>
              <a:rPr lang="fr-FR" sz="2000" b="1" dirty="0">
                <a:solidFill>
                  <a:schemeClr val="accent6"/>
                </a:solidFill>
              </a:rPr>
              <a:t>une culture de tri à la source.</a:t>
            </a:r>
          </a:p>
          <a:p>
            <a:endParaRPr lang="fr-FR" sz="2000" b="1" dirty="0">
              <a:solidFill>
                <a:srgbClr val="FF0000"/>
              </a:solidFill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3D8EDFAF-1698-89A9-45C8-F23F30F4B08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1690688"/>
            <a:ext cx="1223612" cy="1223612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01FCA417-25E7-8752-5D27-3916425530E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3798" y="2671692"/>
            <a:ext cx="629011" cy="960787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B6932DE2-29A4-1789-E719-1CD4F0A8DED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3429000"/>
            <a:ext cx="1113977" cy="587096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416BD170-C9E2-D260-F455-99E5098068D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71950" y="4016096"/>
            <a:ext cx="1030859" cy="1030859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021CC809-2094-BCDA-7E64-FD96414DD9F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199" y="4766330"/>
            <a:ext cx="1148418" cy="1148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55358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C0E6EF9-3A88-3D3E-D693-210FE95FA353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chemeClr val="accent6">
              <a:lumMod val="40000"/>
              <a:lumOff val="60000"/>
            </a:schemeClr>
          </a:solidFill>
        </p:spPr>
        <p:txBody>
          <a:bodyPr/>
          <a:lstStyle/>
          <a:p>
            <a:r>
              <a:rPr lang="fr-FR" dirty="0"/>
              <a:t>Conclusion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80CB8EA2-197D-3203-C270-55B0242D20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Sofcot, Patrick DELABORD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BD531C4-15D5-731C-98EC-40365D1024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C276D-B6F8-4D82-8FFC-8C58539E527E}" type="slidenum">
              <a:rPr lang="fr-FR" smtClean="0"/>
              <a:t>9</a:t>
            </a:fld>
            <a:endParaRPr lang="fr-FR" dirty="0"/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D166A7BA-8E44-0D5C-4903-420B196C3DA9}"/>
              </a:ext>
            </a:extLst>
          </p:cNvPr>
          <p:cNvSpPr txBox="1"/>
          <p:nvPr/>
        </p:nvSpPr>
        <p:spPr>
          <a:xfrm>
            <a:off x="838200" y="1690688"/>
            <a:ext cx="105156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dirty="0">
                <a:solidFill>
                  <a:srgbClr val="FF0000"/>
                </a:solidFill>
              </a:rPr>
              <a:t>Les chutes, les sous –produits, les produits écartés, les produits en fin de vie ne </a:t>
            </a:r>
            <a:r>
              <a:rPr lang="fr-FR" sz="2000" b="1" dirty="0">
                <a:solidFill>
                  <a:srgbClr val="FF0000"/>
                </a:solidFill>
              </a:rPr>
              <a:t>sont pas des déchets, mais de la matière première !</a:t>
            </a:r>
          </a:p>
          <a:p>
            <a:endParaRPr lang="fr-FR" sz="2000" b="1" dirty="0">
              <a:solidFill>
                <a:srgbClr val="FF0000"/>
              </a:solidFill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D610B2B3-CBC6-31DB-4F97-0C6420BB7754}"/>
              </a:ext>
            </a:extLst>
          </p:cNvPr>
          <p:cNvSpPr txBox="1"/>
          <p:nvPr/>
        </p:nvSpPr>
        <p:spPr>
          <a:xfrm>
            <a:off x="933450" y="2706351"/>
            <a:ext cx="1008697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800" b="1" dirty="0"/>
              <a:t>Merci de votre attention,</a:t>
            </a:r>
          </a:p>
          <a:p>
            <a:endParaRPr lang="fr-FR" sz="2800" b="1" dirty="0"/>
          </a:p>
          <a:p>
            <a:pPr lvl="6"/>
            <a:r>
              <a:rPr lang="fr-FR" sz="2800" b="1" dirty="0"/>
              <a:t>Avez-vous des questions ?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438C0A6C-2CD9-802D-3610-BA02A349190F}"/>
              </a:ext>
            </a:extLst>
          </p:cNvPr>
          <p:cNvSpPr txBox="1"/>
          <p:nvPr/>
        </p:nvSpPr>
        <p:spPr>
          <a:xfrm>
            <a:off x="7458075" y="4738549"/>
            <a:ext cx="389572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dirty="0"/>
              <a:t>Patrick DELABORDE</a:t>
            </a:r>
          </a:p>
          <a:p>
            <a:pPr algn="r"/>
            <a:r>
              <a:rPr lang="fr-FR" dirty="0"/>
              <a:t>22 rue du Champ de Blond</a:t>
            </a:r>
          </a:p>
          <a:p>
            <a:pPr algn="r"/>
            <a:r>
              <a:rPr lang="fr-FR" dirty="0"/>
              <a:t>63260 AUBIAT</a:t>
            </a:r>
          </a:p>
          <a:p>
            <a:endParaRPr lang="fr-FR" dirty="0"/>
          </a:p>
          <a:p>
            <a:r>
              <a:rPr lang="fr-FR" dirty="0"/>
              <a:t>Tel : 	06 71 92 60 63</a:t>
            </a:r>
          </a:p>
          <a:p>
            <a:r>
              <a:rPr lang="fr-FR" dirty="0"/>
              <a:t>E-mail : 	patrick.delaborde@outlook.fr</a:t>
            </a:r>
          </a:p>
        </p:txBody>
      </p:sp>
    </p:spTree>
    <p:extLst>
      <p:ext uri="{BB962C8B-B14F-4D97-AF65-F5344CB8AC3E}">
        <p14:creationId xmlns:p14="http://schemas.microsoft.com/office/powerpoint/2010/main" val="17314264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Default Theme">
  <a:themeElements>
    <a:clrScheme name="Eramet">
      <a:dk1>
        <a:sysClr val="windowText" lastClr="000000"/>
      </a:dk1>
      <a:lt1>
        <a:sysClr val="window" lastClr="FFFFFF"/>
      </a:lt1>
      <a:dk2>
        <a:srgbClr val="1A003B"/>
      </a:dk2>
      <a:lt2>
        <a:srgbClr val="F4F2F5"/>
      </a:lt2>
      <a:accent1>
        <a:srgbClr val="FBF315"/>
      </a:accent1>
      <a:accent2>
        <a:srgbClr val="FA6414"/>
      </a:accent2>
      <a:accent3>
        <a:srgbClr val="515793"/>
      </a:accent3>
      <a:accent4>
        <a:srgbClr val="1A003B"/>
      </a:accent4>
      <a:accent5>
        <a:srgbClr val="8589B3"/>
      </a:accent5>
      <a:accent6>
        <a:srgbClr val="5E4D76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900" dirty="0" err="1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fault Theme" id="{072CF57F-0325-476D-9428-FF1AA9A6559C}" vid="{1667804D-70EB-4281-ACA3-E990F8D51FCC}"/>
    </a:ext>
  </a:extLst>
</a:theme>
</file>

<file path=ppt/theme/theme2.xml><?xml version="1.0" encoding="utf-8"?>
<a:theme xmlns:a="http://schemas.openxmlformats.org/drawingml/2006/main" name="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Default Theme">
  <a:themeElements>
    <a:clrScheme name="Eramet">
      <a:dk1>
        <a:sysClr val="windowText" lastClr="000000"/>
      </a:dk1>
      <a:lt1>
        <a:sysClr val="window" lastClr="FFFFFF"/>
      </a:lt1>
      <a:dk2>
        <a:srgbClr val="1A003B"/>
      </a:dk2>
      <a:lt2>
        <a:srgbClr val="F4F2F5"/>
      </a:lt2>
      <a:accent1>
        <a:srgbClr val="FBF315"/>
      </a:accent1>
      <a:accent2>
        <a:srgbClr val="FA6414"/>
      </a:accent2>
      <a:accent3>
        <a:srgbClr val="515793"/>
      </a:accent3>
      <a:accent4>
        <a:srgbClr val="1A003B"/>
      </a:accent4>
      <a:accent5>
        <a:srgbClr val="8589B3"/>
      </a:accent5>
      <a:accent6>
        <a:srgbClr val="5E4D76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900" dirty="0" err="1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fault Theme" id="{072CF57F-0325-476D-9428-FF1AA9A6559C}" vid="{1667804D-70EB-4281-ACA3-E990F8D51FCC}"/>
    </a:ext>
  </a:extLst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83</TotalTime>
  <Words>703</Words>
  <Application>Microsoft Office PowerPoint</Application>
  <PresentationFormat>Grand écran</PresentationFormat>
  <Paragraphs>116</Paragraphs>
  <Slides>9</Slides>
  <Notes>6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3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9</vt:i4>
      </vt:variant>
    </vt:vector>
  </HeadingPairs>
  <TitlesOfParts>
    <vt:vector size="18" baseType="lpstr">
      <vt:lpstr>Arial</vt:lpstr>
      <vt:lpstr>Calibri</vt:lpstr>
      <vt:lpstr>Calibri Light</vt:lpstr>
      <vt:lpstr>Lato</vt:lpstr>
      <vt:lpstr>Wingdings</vt:lpstr>
      <vt:lpstr>1_Default Theme</vt:lpstr>
      <vt:lpstr>Conception personnalisée</vt:lpstr>
      <vt:lpstr>Default Theme</vt:lpstr>
      <vt:lpstr>Diapositive think-cell</vt:lpstr>
      <vt:lpstr>LE TITANE MÉDICAL : DE LA PRODUCTION AU RECYCLAGE</vt:lpstr>
      <vt:lpstr>Sommaire</vt:lpstr>
      <vt:lpstr>Intérêts du Titane (médical)</vt:lpstr>
      <vt:lpstr>Du minerai à l’éponge de Titane</vt:lpstr>
      <vt:lpstr>De l’éponge de Titane au Lingot</vt:lpstr>
      <vt:lpstr>Du lingot aux demi-produits</vt:lpstr>
      <vt:lpstr>Le recyclage du Titane</vt:lpstr>
      <vt:lpstr>Intérêt du recyclage du Titane</vt:lpstr>
      <vt:lpstr>Conclus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Patrick DELABORDE</dc:creator>
  <cp:lastModifiedBy>Patrick DELABORDE</cp:lastModifiedBy>
  <cp:revision>5</cp:revision>
  <dcterms:created xsi:type="dcterms:W3CDTF">2022-09-17T20:30:01Z</dcterms:created>
  <dcterms:modified xsi:type="dcterms:W3CDTF">2022-11-07T16:05:42Z</dcterms:modified>
</cp:coreProperties>
</file>